
<file path=[Content_Types].xml><?xml version="1.0" encoding="utf-8"?>
<Types xmlns="http://schemas.openxmlformats.org/package/2006/content-types">
  <Default Extension="jpeg" ContentType="image/jpeg"/>
  <Default Extension="jp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482" r:id="rId2"/>
    <p:sldId id="483" r:id="rId3"/>
    <p:sldId id="484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72" d="100"/>
          <a:sy n="72" d="100"/>
        </p:scale>
        <p:origin x="120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slide" Target="slides/slide3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20656B-BE91-4102-83B8-6D284866CB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4A9E406-C6E3-4D79-9497-74D6D2F290A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C5B68A-4BBE-4CD1-A0E3-3195B8A6A2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6F354A-4D00-4FDC-8A94-C0CD4627A82F}" type="datetimeFigureOut">
              <a:rPr lang="fr-FR" smtClean="0"/>
              <a:t>03/08/2020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21153C-3F5D-4C77-9F69-0D3A6D4BBA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8C817A-2955-4348-B9E2-CC2429E5BA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899AB-1C46-4C3B-9D0A-3306FC10CB1B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507989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046317-BB38-42B3-8AF3-A81733C013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F54C2E1-5C1B-4080-9C6A-AFC9CEB1737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453EB65-D934-4410-BC0C-71CDF8503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6F354A-4D00-4FDC-8A94-C0CD4627A82F}" type="datetimeFigureOut">
              <a:rPr lang="fr-FR" smtClean="0"/>
              <a:t>03/08/2020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9AD8A03-F222-4B33-BAC9-7865ED2764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FD0540-6911-4CD0-B076-CD01C483D8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899AB-1C46-4C3B-9D0A-3306FC10CB1B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085682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A56C1CE-6C1C-491F-9C63-B432F34C924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9A8BB10-2E82-4E46-A9FD-455842E8B1B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CC44724-F072-4512-B160-6F21E1F1F5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6F354A-4D00-4FDC-8A94-C0CD4627A82F}" type="datetimeFigureOut">
              <a:rPr lang="fr-FR" smtClean="0"/>
              <a:t>03/08/2020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0B4489-4739-4E02-8E4E-A499BCD75D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953E5F-D3F3-4B89-8753-278AAB6037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899AB-1C46-4C3B-9D0A-3306FC10CB1B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983057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9F7FF5-A85A-4FD3-B467-DBCFA65F34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D124EF-D8CA-46AC-B022-2BBAF1C55E9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953E8F-8BBE-484C-9DB5-9E970244B9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6F354A-4D00-4FDC-8A94-C0CD4627A82F}" type="datetimeFigureOut">
              <a:rPr lang="fr-FR" smtClean="0"/>
              <a:t>03/08/2020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FD0E19-CCB0-4890-98EA-5E8F8806AF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EC5AFE-8FC9-4489-BA56-26E1AAF02C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899AB-1C46-4C3B-9D0A-3306FC10CB1B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818351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A96C5D-49A5-42E0-BD84-130FD1AF6C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2CC3ADC-5773-4A21-B44A-590CB73EC0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D6EED3-E6F4-49F4-B045-67671164A8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6F354A-4D00-4FDC-8A94-C0CD4627A82F}" type="datetimeFigureOut">
              <a:rPr lang="fr-FR" smtClean="0"/>
              <a:t>03/08/2020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06E978-8A58-41D5-B43D-E3EBEE70A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036040-81F8-400C-AB3A-9710F35E84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899AB-1C46-4C3B-9D0A-3306FC10CB1B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662884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1D84F8-21C4-496B-B67C-2F2E3E3081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788CE0-B71B-48D6-885F-94B8583C423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C53AAAB-B10E-422D-A75F-CD80C83851A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41E76BC-7542-494D-AB18-9F6A6A372F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6F354A-4D00-4FDC-8A94-C0CD4627A82F}" type="datetimeFigureOut">
              <a:rPr lang="fr-FR" smtClean="0"/>
              <a:t>03/08/2020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075EEA1-1E9D-4516-9FD2-12539C587A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5706D78-0E36-444A-A6EA-A49BCD059B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899AB-1C46-4C3B-9D0A-3306FC10CB1B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214996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5C6A92-A348-420F-BA8F-5EE2AF0344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945A90B-438B-481D-9F38-9D08897597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2A639DC-FB9D-4BFB-AA30-23D811407D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3752FD3-3341-4A63-AB9E-7BDF66853DE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799CD72-E82E-44FB-BB76-1A87C59056D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8941ADF-66C8-4D32-917C-A62D4B66BC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6F354A-4D00-4FDC-8A94-C0CD4627A82F}" type="datetimeFigureOut">
              <a:rPr lang="fr-FR" smtClean="0"/>
              <a:t>03/08/2020</a:t>
            </a:fld>
            <a:endParaRPr lang="fr-FR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C211B4B-24E5-4E20-B923-EC8267DC48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F713B72-7BF2-4140-BFA7-9B4BF001E1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899AB-1C46-4C3B-9D0A-3306FC10CB1B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657241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143386-6061-4D31-BD06-9F84E8B594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DA7D26C-0BC6-4275-864F-C8451E6D67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6F354A-4D00-4FDC-8A94-C0CD4627A82F}" type="datetimeFigureOut">
              <a:rPr lang="fr-FR" smtClean="0"/>
              <a:t>03/08/2020</a:t>
            </a:fld>
            <a:endParaRPr lang="fr-F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27C7DD-B80B-4CA0-AD6D-A0E8C7F4B7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9956E4D-5136-4C7D-8589-723C76B165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899AB-1C46-4C3B-9D0A-3306FC10CB1B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021139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2A8027D-D23E-4A80-9CB1-E7A37E0C96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6F354A-4D00-4FDC-8A94-C0CD4627A82F}" type="datetimeFigureOut">
              <a:rPr lang="fr-FR" smtClean="0"/>
              <a:t>03/08/2020</a:t>
            </a:fld>
            <a:endParaRPr lang="fr-F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694852-6D49-4EFE-A1FA-A7803CDAE9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0B06987-1D04-476B-95FD-2BC9625E0C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899AB-1C46-4C3B-9D0A-3306FC10CB1B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263864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73F6D9-5696-4C72-B42A-D9CC31153D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776C2D-EEDA-4BD3-A3F6-C420F64FBD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4D0114-B4ED-4F20-9D5A-90BF124BB7C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86F4D1A-7E2F-4F6C-8BF5-141AD7149C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6F354A-4D00-4FDC-8A94-C0CD4627A82F}" type="datetimeFigureOut">
              <a:rPr lang="fr-FR" smtClean="0"/>
              <a:t>03/08/2020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CDDF8F2-CDA7-4976-9C81-7E577AFB65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A4B3685-20DD-4DFC-8F06-C5077CD03F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899AB-1C46-4C3B-9D0A-3306FC10CB1B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366614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A20466-E4F7-474C-9D64-F8C7B4D826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DAD1E22-569E-444D-AEDF-DCEF18E00F6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9014D5-8A4C-47A5-B39A-26317B62A1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419C8C5-515E-447E-927F-B11AE24E70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6F354A-4D00-4FDC-8A94-C0CD4627A82F}" type="datetimeFigureOut">
              <a:rPr lang="fr-FR" smtClean="0"/>
              <a:t>03/08/2020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8C04818-FF65-4849-A861-5ED201E76B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A363F9F-2609-4BDC-884B-F8A2C4B9D8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899AB-1C46-4C3B-9D0A-3306FC10CB1B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21041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D831742-5736-45AA-A250-3BE90291B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228F33-2FC9-465D-85D4-C601BC8FAE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80E57BF-99B6-40D5-996C-3BECC4E516B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86F354A-4D00-4FDC-8A94-C0CD4627A82F}" type="datetimeFigureOut">
              <a:rPr lang="fr-FR" smtClean="0"/>
              <a:t>03/08/2020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0D60FE7-EBAE-4D6D-A94E-EF16B0AAAA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643683-0A50-436B-8FC0-D0DCCC3F52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899AB-1C46-4C3B-9D0A-3306FC10CB1B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199780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.jp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10" Type="http://schemas.openxmlformats.org/officeDocument/2006/relationships/tags" Target="../tags/tag16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Activity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AC0D1A6-DEC1-4713-826C-815C15052274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 rot="16200000">
            <a:off x="11210567" y="3052861"/>
            <a:ext cx="1211919" cy="605916"/>
            <a:chOff x="729" y="898"/>
            <a:chExt cx="233" cy="111"/>
          </a:xfrm>
        </p:grpSpPr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079757A1-2754-4E88-98C3-E6C58B6C125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9" y="898"/>
              <a:ext cx="182" cy="111"/>
            </a:xfrm>
            <a:custGeom>
              <a:avLst/>
              <a:gdLst>
                <a:gd name="T0" fmla="*/ 196 w 379"/>
                <a:gd name="T1" fmla="*/ 231 h 231"/>
                <a:gd name="T2" fmla="*/ 174 w 379"/>
                <a:gd name="T3" fmla="*/ 217 h 231"/>
                <a:gd name="T4" fmla="*/ 129 w 379"/>
                <a:gd name="T5" fmla="*/ 127 h 231"/>
                <a:gd name="T6" fmla="*/ 103 w 379"/>
                <a:gd name="T7" fmla="*/ 159 h 231"/>
                <a:gd name="T8" fmla="*/ 84 w 379"/>
                <a:gd name="T9" fmla="*/ 168 h 231"/>
                <a:gd name="T10" fmla="*/ 34 w 379"/>
                <a:gd name="T11" fmla="*/ 168 h 231"/>
                <a:gd name="T12" fmla="*/ 34 w 379"/>
                <a:gd name="T13" fmla="*/ 118 h 231"/>
                <a:gd name="T14" fmla="*/ 71 w 379"/>
                <a:gd name="T15" fmla="*/ 118 h 231"/>
                <a:gd name="T16" fmla="*/ 114 w 379"/>
                <a:gd name="T17" fmla="*/ 65 h 231"/>
                <a:gd name="T18" fmla="*/ 156 w 379"/>
                <a:gd name="T19" fmla="*/ 70 h 231"/>
                <a:gd name="T20" fmla="*/ 190 w 379"/>
                <a:gd name="T21" fmla="*/ 137 h 231"/>
                <a:gd name="T22" fmla="*/ 222 w 379"/>
                <a:gd name="T23" fmla="*/ 24 h 231"/>
                <a:gd name="T24" fmla="*/ 269 w 379"/>
                <a:gd name="T25" fmla="*/ 21 h 231"/>
                <a:gd name="T26" fmla="*/ 312 w 379"/>
                <a:gd name="T27" fmla="*/ 118 h 231"/>
                <a:gd name="T28" fmla="*/ 346 w 379"/>
                <a:gd name="T29" fmla="*/ 118 h 231"/>
                <a:gd name="T30" fmla="*/ 346 w 379"/>
                <a:gd name="T31" fmla="*/ 168 h 231"/>
                <a:gd name="T32" fmla="*/ 296 w 379"/>
                <a:gd name="T33" fmla="*/ 168 h 231"/>
                <a:gd name="T34" fmla="*/ 273 w 379"/>
                <a:gd name="T35" fmla="*/ 153 h 231"/>
                <a:gd name="T36" fmla="*/ 251 w 379"/>
                <a:gd name="T37" fmla="*/ 104 h 231"/>
                <a:gd name="T38" fmla="*/ 220 w 379"/>
                <a:gd name="T39" fmla="*/ 212 h 231"/>
                <a:gd name="T40" fmla="*/ 198 w 379"/>
                <a:gd name="T41" fmla="*/ 230 h 231"/>
                <a:gd name="T42" fmla="*/ 196 w 379"/>
                <a:gd name="T43" fmla="*/ 231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79" h="231">
                  <a:moveTo>
                    <a:pt x="196" y="231"/>
                  </a:moveTo>
                  <a:cubicBezTo>
                    <a:pt x="187" y="231"/>
                    <a:pt x="178" y="225"/>
                    <a:pt x="174" y="217"/>
                  </a:cubicBezTo>
                  <a:lnTo>
                    <a:pt x="129" y="127"/>
                  </a:lnTo>
                  <a:lnTo>
                    <a:pt x="103" y="159"/>
                  </a:lnTo>
                  <a:cubicBezTo>
                    <a:pt x="98" y="165"/>
                    <a:pt x="91" y="168"/>
                    <a:pt x="84" y="168"/>
                  </a:cubicBezTo>
                  <a:lnTo>
                    <a:pt x="34" y="168"/>
                  </a:lnTo>
                  <a:cubicBezTo>
                    <a:pt x="0" y="168"/>
                    <a:pt x="0" y="118"/>
                    <a:pt x="34" y="118"/>
                  </a:cubicBezTo>
                  <a:lnTo>
                    <a:pt x="71" y="118"/>
                  </a:lnTo>
                  <a:lnTo>
                    <a:pt x="114" y="65"/>
                  </a:lnTo>
                  <a:cubicBezTo>
                    <a:pt x="125" y="51"/>
                    <a:pt x="148" y="53"/>
                    <a:pt x="156" y="70"/>
                  </a:cubicBezTo>
                  <a:lnTo>
                    <a:pt x="190" y="137"/>
                  </a:lnTo>
                  <a:lnTo>
                    <a:pt x="222" y="24"/>
                  </a:lnTo>
                  <a:cubicBezTo>
                    <a:pt x="228" y="2"/>
                    <a:pt x="259" y="0"/>
                    <a:pt x="269" y="21"/>
                  </a:cubicBezTo>
                  <a:lnTo>
                    <a:pt x="312" y="118"/>
                  </a:lnTo>
                  <a:lnTo>
                    <a:pt x="346" y="118"/>
                  </a:lnTo>
                  <a:cubicBezTo>
                    <a:pt x="379" y="118"/>
                    <a:pt x="379" y="168"/>
                    <a:pt x="346" y="168"/>
                  </a:cubicBezTo>
                  <a:lnTo>
                    <a:pt x="296" y="168"/>
                  </a:lnTo>
                  <a:cubicBezTo>
                    <a:pt x="286" y="168"/>
                    <a:pt x="277" y="162"/>
                    <a:pt x="273" y="153"/>
                  </a:cubicBezTo>
                  <a:lnTo>
                    <a:pt x="251" y="104"/>
                  </a:lnTo>
                  <a:lnTo>
                    <a:pt x="220" y="212"/>
                  </a:lnTo>
                  <a:cubicBezTo>
                    <a:pt x="217" y="222"/>
                    <a:pt x="209" y="229"/>
                    <a:pt x="198" y="230"/>
                  </a:cubicBezTo>
                  <a:cubicBezTo>
                    <a:pt x="198" y="231"/>
                    <a:pt x="197" y="231"/>
                    <a:pt x="196" y="231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Freeform 11">
              <a:extLst>
                <a:ext uri="{FF2B5EF4-FFF2-40B4-BE49-F238E27FC236}">
                  <a16:creationId xmlns:a16="http://schemas.microsoft.com/office/drawing/2014/main" id="{26E048EB-3C41-4528-A1C3-8C2337E3D9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7" y="918"/>
              <a:ext cx="85" cy="84"/>
            </a:xfrm>
            <a:custGeom>
              <a:avLst/>
              <a:gdLst>
                <a:gd name="T0" fmla="*/ 101 w 176"/>
                <a:gd name="T1" fmla="*/ 175 h 175"/>
                <a:gd name="T2" fmla="*/ 47 w 176"/>
                <a:gd name="T3" fmla="*/ 47 h 175"/>
                <a:gd name="T4" fmla="*/ 176 w 176"/>
                <a:gd name="T5" fmla="*/ 100 h 175"/>
                <a:gd name="T6" fmla="*/ 101 w 176"/>
                <a:gd name="T7" fmla="*/ 175 h 175"/>
                <a:gd name="T8" fmla="*/ 101 w 176"/>
                <a:gd name="T9" fmla="*/ 66 h 175"/>
                <a:gd name="T10" fmla="*/ 77 w 176"/>
                <a:gd name="T11" fmla="*/ 124 h 175"/>
                <a:gd name="T12" fmla="*/ 135 w 176"/>
                <a:gd name="T13" fmla="*/ 100 h 175"/>
                <a:gd name="T14" fmla="*/ 101 w 176"/>
                <a:gd name="T15" fmla="*/ 66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6" h="175">
                  <a:moveTo>
                    <a:pt x="101" y="175"/>
                  </a:moveTo>
                  <a:cubicBezTo>
                    <a:pt x="34" y="175"/>
                    <a:pt x="0" y="94"/>
                    <a:pt x="47" y="47"/>
                  </a:cubicBezTo>
                  <a:cubicBezTo>
                    <a:pt x="95" y="0"/>
                    <a:pt x="176" y="33"/>
                    <a:pt x="176" y="100"/>
                  </a:cubicBezTo>
                  <a:cubicBezTo>
                    <a:pt x="176" y="141"/>
                    <a:pt x="142" y="175"/>
                    <a:pt x="101" y="175"/>
                  </a:cubicBezTo>
                  <a:close/>
                  <a:moveTo>
                    <a:pt x="101" y="66"/>
                  </a:moveTo>
                  <a:cubicBezTo>
                    <a:pt x="70" y="66"/>
                    <a:pt x="55" y="103"/>
                    <a:pt x="77" y="124"/>
                  </a:cubicBezTo>
                  <a:cubicBezTo>
                    <a:pt x="98" y="145"/>
                    <a:pt x="135" y="130"/>
                    <a:pt x="135" y="100"/>
                  </a:cubicBezTo>
                  <a:cubicBezTo>
                    <a:pt x="135" y="81"/>
                    <a:pt x="119" y="66"/>
                    <a:pt x="101" y="66"/>
                  </a:cubicBez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D10FFC83-F93A-46F8-A242-2D9109AF5C5D}"/>
              </a:ext>
            </a:extLst>
          </p:cNvPr>
          <p:cNvSpPr/>
          <p:nvPr/>
        </p:nvSpPr>
        <p:spPr>
          <a:xfrm>
            <a:off x="-24534" y="0"/>
            <a:ext cx="12192000" cy="6858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>
            <a:outerShdw blurRad="215900" dist="38100" sx="101000" sy="101000" algn="ctr" rotWithShape="0">
              <a:schemeClr val="tx1">
                <a:alpha val="3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7C5849CC-AB33-42AE-A3B2-6938EDFD66F3}"/>
              </a:ext>
            </a:extLst>
          </p:cNvPr>
          <p:cNvSpPr/>
          <p:nvPr/>
        </p:nvSpPr>
        <p:spPr>
          <a:xfrm>
            <a:off x="10859598" y="2132924"/>
            <a:ext cx="1307939" cy="2592153"/>
          </a:xfrm>
          <a:custGeom>
            <a:avLst/>
            <a:gdLst>
              <a:gd name="connsiteX0" fmla="*/ 1307939 w 1307939"/>
              <a:gd name="connsiteY0" fmla="*/ 0 h 2592153"/>
              <a:gd name="connsiteX1" fmla="*/ 1307939 w 1307939"/>
              <a:gd name="connsiteY1" fmla="*/ 2592153 h 2592153"/>
              <a:gd name="connsiteX2" fmla="*/ 1179406 w 1307939"/>
              <a:gd name="connsiteY2" fmla="*/ 2585748 h 2592153"/>
              <a:gd name="connsiteX3" fmla="*/ 0 w 1307939"/>
              <a:gd name="connsiteY3" fmla="*/ 1296076 h 2592153"/>
              <a:gd name="connsiteX4" fmla="*/ 1179406 w 1307939"/>
              <a:gd name="connsiteY4" fmla="*/ 6404 h 25921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07939" h="2592153">
                <a:moveTo>
                  <a:pt x="1307939" y="0"/>
                </a:moveTo>
                <a:lnTo>
                  <a:pt x="1307939" y="2592153"/>
                </a:lnTo>
                <a:lnTo>
                  <a:pt x="1179406" y="2585748"/>
                </a:lnTo>
                <a:cubicBezTo>
                  <a:pt x="516952" y="2519361"/>
                  <a:pt x="0" y="1967292"/>
                  <a:pt x="0" y="1296076"/>
                </a:cubicBezTo>
                <a:cubicBezTo>
                  <a:pt x="0" y="624861"/>
                  <a:pt x="516952" y="72791"/>
                  <a:pt x="1179406" y="6404"/>
                </a:cubicBez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C351052-3ABC-4F44-987A-F0385E9DBD6A}"/>
              </a:ext>
            </a:extLst>
          </p:cNvPr>
          <p:cNvSpPr txBox="1"/>
          <p:nvPr/>
        </p:nvSpPr>
        <p:spPr>
          <a:xfrm>
            <a:off x="11694719" y="2293956"/>
            <a:ext cx="615553" cy="2025239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Rockwell Extra Bold" panose="02060903040505020403" pitchFamily="18" charset="0"/>
              </a:rPr>
              <a:t>SISTEM</a:t>
            </a:r>
            <a:endParaRPr lang="fr-FR" sz="2800" dirty="0">
              <a:solidFill>
                <a:schemeClr val="bg1"/>
              </a:solidFill>
              <a:latin typeface="Rockwell Extra Bold" panose="02060903040505020403" pitchFamily="18" charset="0"/>
            </a:endParaRPr>
          </a:p>
        </p:txBody>
      </p:sp>
      <p:sp>
        <p:nvSpPr>
          <p:cNvPr id="2" name="Freeform 14">
            <a:extLst>
              <a:ext uri="{FF2B5EF4-FFF2-40B4-BE49-F238E27FC236}">
                <a16:creationId xmlns:a16="http://schemas.microsoft.com/office/drawing/2014/main" id="{60B7E974-EDDE-4C03-A0E4-AAD3C08B4304}"/>
              </a:ext>
            </a:extLst>
          </p:cNvPr>
          <p:cNvSpPr/>
          <p:nvPr/>
        </p:nvSpPr>
        <p:spPr>
          <a:xfrm>
            <a:off x="2995355" y="1020977"/>
            <a:ext cx="3562597" cy="5270975"/>
          </a:xfrm>
          <a:custGeom>
            <a:avLst/>
            <a:gdLst>
              <a:gd name="connsiteX0" fmla="*/ 0 w 2614020"/>
              <a:gd name="connsiteY0" fmla="*/ 0 h 4348303"/>
              <a:gd name="connsiteX1" fmla="*/ 1307011 w 2614020"/>
              <a:gd name="connsiteY1" fmla="*/ 290881 h 4348303"/>
              <a:gd name="connsiteX2" fmla="*/ 2614020 w 2614020"/>
              <a:gd name="connsiteY2" fmla="*/ 0 h 4348303"/>
              <a:gd name="connsiteX3" fmla="*/ 2614020 w 2614020"/>
              <a:gd name="connsiteY3" fmla="*/ 4348303 h 4348303"/>
              <a:gd name="connsiteX4" fmla="*/ 0 w 2614020"/>
              <a:gd name="connsiteY4" fmla="*/ 4348303 h 4348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14020" h="4348303">
                <a:moveTo>
                  <a:pt x="0" y="0"/>
                </a:moveTo>
                <a:lnTo>
                  <a:pt x="1307011" y="290881"/>
                </a:lnTo>
                <a:lnTo>
                  <a:pt x="2614020" y="0"/>
                </a:lnTo>
                <a:lnTo>
                  <a:pt x="2614020" y="4348303"/>
                </a:lnTo>
                <a:lnTo>
                  <a:pt x="0" y="4348303"/>
                </a:lnTo>
                <a:close/>
              </a:path>
            </a:pathLst>
          </a:custGeom>
          <a:noFill/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88900" tIns="360000" rIns="88900" bIns="38100" rtlCol="0" anchor="t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рофессионалы</a:t>
            </a:r>
            <a:r>
              <a:rPr lang="lv-LV" sz="1600" kern="0" dirty="0">
                <a:solidFill>
                  <a:prstClr val="black"/>
                </a:solidFill>
                <a:latin typeface="Calibri"/>
              </a:rPr>
              <a:t>:</a:t>
            </a:r>
            <a:endParaRPr lang="ru-RU" sz="1600" kern="0" dirty="0">
              <a:solidFill>
                <a:prstClr val="black"/>
              </a:solidFill>
              <a:latin typeface="Calibri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ru-RU" sz="1600" kern="0" dirty="0">
                <a:solidFill>
                  <a:prstClr val="black"/>
                </a:solidFill>
                <a:latin typeface="Calibri"/>
              </a:rPr>
              <a:t>С помощью ежедневных тренеровок и большого количества добавок добиваются карьерного успеха. 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ru-RU" sz="1600" kern="0" dirty="0">
                <a:solidFill>
                  <a:prstClr val="black"/>
                </a:solidFill>
                <a:latin typeface="Calibri"/>
              </a:rPr>
              <a:t>Минус: снижается уровень здоровье, неэластичность мышц.</a:t>
            </a:r>
          </a:p>
          <a:p>
            <a:pPr marL="285744" marR="0" lvl="0" indent="-285744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ru-RU" sz="1600" b="1" kern="0" dirty="0">
                <a:solidFill>
                  <a:prstClr val="black"/>
                </a:solidFill>
                <a:latin typeface="Calibri"/>
              </a:rPr>
              <a:t>На любительском уровне</a:t>
            </a:r>
            <a:r>
              <a:rPr lang="lv-LV" sz="1600" b="1" kern="0" dirty="0">
                <a:solidFill>
                  <a:prstClr val="black"/>
                </a:solidFill>
                <a:latin typeface="Calibri"/>
              </a:rPr>
              <a:t>:</a:t>
            </a:r>
            <a:endParaRPr lang="ru-RU" sz="1600" b="1" kern="0" dirty="0">
              <a:solidFill>
                <a:prstClr val="black"/>
              </a:solidFill>
              <a:latin typeface="Calibri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истема </a:t>
            </a:r>
            <a:r>
              <a:rPr kumimoji="0" lang="lv-LV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«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зимой сижу на массе, а летом сижу на сушке</a:t>
            </a:r>
            <a:r>
              <a:rPr kumimoji="0" lang="lv-LV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»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является неэффективной. </a:t>
            </a:r>
            <a:r>
              <a:rPr lang="ru-RU" sz="1600" kern="0" dirty="0">
                <a:solidFill>
                  <a:prstClr val="black"/>
                </a:solidFill>
                <a:latin typeface="Calibri"/>
              </a:rPr>
              <a:t>Возможно набирать массу и при этом оставаясь сухим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ru-RU" sz="1600" kern="0" dirty="0">
              <a:solidFill>
                <a:prstClr val="black"/>
              </a:solidFill>
              <a:latin typeface="Calibri"/>
            </a:endParaRPr>
          </a:p>
          <a:p>
            <a:pPr>
              <a:defRPr/>
            </a:pPr>
            <a:r>
              <a:rPr lang="ru-RU" sz="1600" b="1" kern="0" dirty="0">
                <a:solidFill>
                  <a:prstClr val="black"/>
                </a:solidFill>
              </a:rPr>
              <a:t>Наша цель ответить на вопрос чего хотим мы</a:t>
            </a:r>
            <a:r>
              <a:rPr lang="lv-LV" sz="1600" b="1" kern="0" dirty="0">
                <a:solidFill>
                  <a:prstClr val="black"/>
                </a:solidFill>
              </a:rPr>
              <a:t>:</a:t>
            </a:r>
            <a:endParaRPr lang="ru-RU" sz="1600" b="1" kern="0" dirty="0">
              <a:solidFill>
                <a:prstClr val="black"/>
              </a:solidFill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ru-RU" sz="1600" kern="0" dirty="0">
                <a:solidFill>
                  <a:prstClr val="black"/>
                </a:solidFill>
                <a:latin typeface="Calibri"/>
              </a:rPr>
              <a:t>Например. Во-первых, я хочу быть здоровым и каждый день быть в тонусе. Во-вторых, я хочу быть красивой фигурой, чтобы быть жить и любить себя.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Nom1">
            <a:extLst>
              <a:ext uri="{FF2B5EF4-FFF2-40B4-BE49-F238E27FC236}">
                <a16:creationId xmlns:a16="http://schemas.microsoft.com/office/drawing/2014/main" id="{C9F02264-4A73-42FC-9279-FD544A2D8371}"/>
              </a:ext>
            </a:extLst>
          </p:cNvPr>
          <p:cNvSpPr/>
          <p:nvPr/>
        </p:nvSpPr>
        <p:spPr>
          <a:xfrm rot="5400000">
            <a:off x="8142629" y="-1021799"/>
            <a:ext cx="754599" cy="3577169"/>
          </a:xfrm>
          <a:prstGeom prst="homePlate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Для людей с 15 – 40% жира</a:t>
            </a:r>
            <a:endParaRPr kumimoji="0" lang="en-US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Nom3">
            <a:extLst>
              <a:ext uri="{FF2B5EF4-FFF2-40B4-BE49-F238E27FC236}">
                <a16:creationId xmlns:a16="http://schemas.microsoft.com/office/drawing/2014/main" id="{C52CBAEB-3633-471E-9D42-6E3477C6C501}"/>
              </a:ext>
            </a:extLst>
          </p:cNvPr>
          <p:cNvSpPr/>
          <p:nvPr/>
        </p:nvSpPr>
        <p:spPr>
          <a:xfrm rot="5400000">
            <a:off x="4400257" y="-1021799"/>
            <a:ext cx="754600" cy="3577168"/>
          </a:xfrm>
          <a:prstGeom prst="homePlate">
            <a:avLst>
              <a:gd name="adj" fmla="val 50931"/>
            </a:avLst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абор массы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Freeform 17">
            <a:extLst>
              <a:ext uri="{FF2B5EF4-FFF2-40B4-BE49-F238E27FC236}">
                <a16:creationId xmlns:a16="http://schemas.microsoft.com/office/drawing/2014/main" id="{815E4E4C-9CAC-42F6-928E-0FD0B6D4EBCA}"/>
              </a:ext>
            </a:extLst>
          </p:cNvPr>
          <p:cNvSpPr/>
          <p:nvPr/>
        </p:nvSpPr>
        <p:spPr>
          <a:xfrm>
            <a:off x="6738629" y="1020977"/>
            <a:ext cx="3562597" cy="5276592"/>
          </a:xfrm>
          <a:custGeom>
            <a:avLst/>
            <a:gdLst>
              <a:gd name="connsiteX0" fmla="*/ 0 w 2614020"/>
              <a:gd name="connsiteY0" fmla="*/ 0 h 4348303"/>
              <a:gd name="connsiteX1" fmla="*/ 1307011 w 2614020"/>
              <a:gd name="connsiteY1" fmla="*/ 290881 h 4348303"/>
              <a:gd name="connsiteX2" fmla="*/ 2614020 w 2614020"/>
              <a:gd name="connsiteY2" fmla="*/ 0 h 4348303"/>
              <a:gd name="connsiteX3" fmla="*/ 2614020 w 2614020"/>
              <a:gd name="connsiteY3" fmla="*/ 4348303 h 4348303"/>
              <a:gd name="connsiteX4" fmla="*/ 0 w 2614020"/>
              <a:gd name="connsiteY4" fmla="*/ 4348303 h 4348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14020" h="4348303">
                <a:moveTo>
                  <a:pt x="0" y="0"/>
                </a:moveTo>
                <a:lnTo>
                  <a:pt x="1307011" y="290881"/>
                </a:lnTo>
                <a:lnTo>
                  <a:pt x="2614020" y="0"/>
                </a:lnTo>
                <a:lnTo>
                  <a:pt x="2614020" y="4348303"/>
                </a:lnTo>
                <a:lnTo>
                  <a:pt x="0" y="4348303"/>
                </a:lnTo>
                <a:close/>
              </a:path>
            </a:pathLst>
          </a:custGeom>
          <a:noFill/>
          <a:ln w="31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88900" tIns="360000" rIns="88900" bIns="38100" rtlCol="0" anchor="t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охудение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рофицит калорий</a:t>
            </a:r>
            <a:r>
              <a:rPr lang="ru-RU" sz="1600" kern="0" dirty="0">
                <a:solidFill>
                  <a:prstClr val="black"/>
                </a:solidFill>
                <a:latin typeface="Calibri"/>
              </a:rPr>
              <a:t> - 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тратить энергии-калорий больше, чем потребляешь.</a:t>
            </a:r>
            <a:endParaRPr kumimoji="0" lang="ru-RU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Для профицита: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Больше активности;</a:t>
            </a:r>
          </a:p>
          <a:p>
            <a:pPr>
              <a:defRPr/>
            </a:pPr>
            <a:r>
              <a:rPr lang="ru-RU" sz="1600" kern="0" dirty="0">
                <a:solidFill>
                  <a:prstClr val="black"/>
                </a:solidFill>
              </a:rPr>
              <a:t>Меньше кушать быстрых углеводов;</a:t>
            </a:r>
          </a:p>
          <a:p>
            <a:pPr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Заменять углеводы белком;</a:t>
            </a:r>
          </a:p>
          <a:p>
            <a:pPr>
              <a:defRPr/>
            </a:pPr>
            <a:r>
              <a:rPr lang="ru-RU" sz="1600" kern="0" dirty="0">
                <a:solidFill>
                  <a:prstClr val="black"/>
                </a:solidFill>
                <a:latin typeface="Calibri"/>
              </a:rPr>
              <a:t>Кардио тренировки после последнего приема пищи;</a:t>
            </a: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>
              <a:defRPr/>
            </a:pPr>
            <a:r>
              <a:rPr lang="ru-RU" sz="1600" kern="0" dirty="0">
                <a:solidFill>
                  <a:prstClr val="black"/>
                </a:solidFill>
                <a:latin typeface="Calibri"/>
              </a:rPr>
              <a:t>Н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евысокоинтенсивные тренеровки утром на пустой желудок;</a:t>
            </a:r>
          </a:p>
          <a:p>
            <a:pPr>
              <a:defRPr/>
            </a:pPr>
            <a:r>
              <a:rPr lang="ru-RU" sz="1600" kern="0" dirty="0">
                <a:solidFill>
                  <a:prstClr val="black"/>
                </a:solidFill>
                <a:latin typeface="Calibri"/>
              </a:rPr>
              <a:t>Тренировки на турниках;</a:t>
            </a: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ru-RU" sz="1600" kern="0" dirty="0">
                <a:solidFill>
                  <a:prstClr val="black"/>
                </a:solidFill>
                <a:latin typeface="Calibri"/>
              </a:rPr>
              <a:t>Или делать всего понемногу.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ru-RU" sz="1600" b="1" kern="0" dirty="0">
              <a:solidFill>
                <a:prstClr val="black"/>
              </a:solidFill>
              <a:latin typeface="Calibri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ru-RU" sz="1600" b="1" kern="0" dirty="0">
                <a:solidFill>
                  <a:prstClr val="black"/>
                </a:solidFill>
                <a:latin typeface="Calibri"/>
              </a:rPr>
              <a:t>Поддерживать позитивный азотистый баланс: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ru-RU" sz="1600" kern="0" dirty="0">
                <a:solidFill>
                  <a:prstClr val="black"/>
                </a:solidFill>
                <a:latin typeface="Calibri"/>
              </a:rPr>
              <a:t>Низкий уровень стресса; Продолжительность сна </a:t>
            </a:r>
            <a:r>
              <a:rPr lang="lv-LV" sz="1600" kern="0" dirty="0">
                <a:solidFill>
                  <a:prstClr val="black"/>
                </a:solidFill>
                <a:latin typeface="Calibri"/>
              </a:rPr>
              <a:t>min</a:t>
            </a:r>
            <a:r>
              <a:rPr lang="en-US" sz="1600" kern="0" dirty="0">
                <a:solidFill>
                  <a:prstClr val="black"/>
                </a:solidFill>
                <a:latin typeface="Calibri"/>
              </a:rPr>
              <a:t> </a:t>
            </a:r>
            <a:r>
              <a:rPr lang="ru-RU" sz="1600" kern="0" dirty="0">
                <a:solidFill>
                  <a:prstClr val="black"/>
                </a:solidFill>
                <a:latin typeface="Calibri"/>
              </a:rPr>
              <a:t>7-8 ч.; Потребление достаточной нормы пищи (белка и витаминов).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Battery6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2593BC6-464D-4A12-BAD6-D388E4A7C8E2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11125211" y="2951777"/>
            <a:ext cx="496465" cy="946650"/>
          </a:xfrm>
          <a:custGeom>
            <a:avLst/>
            <a:gdLst>
              <a:gd name="T0" fmla="*/ 568 w 1239"/>
              <a:gd name="T1" fmla="*/ 893 h 2363"/>
              <a:gd name="T2" fmla="*/ 663 w 1239"/>
              <a:gd name="T3" fmla="*/ 893 h 2363"/>
              <a:gd name="T4" fmla="*/ 663 w 1239"/>
              <a:gd name="T5" fmla="*/ 778 h 2363"/>
              <a:gd name="T6" fmla="*/ 772 w 1239"/>
              <a:gd name="T7" fmla="*/ 778 h 2363"/>
              <a:gd name="T8" fmla="*/ 772 w 1239"/>
              <a:gd name="T9" fmla="*/ 683 h 2363"/>
              <a:gd name="T10" fmla="*/ 663 w 1239"/>
              <a:gd name="T11" fmla="*/ 683 h 2363"/>
              <a:gd name="T12" fmla="*/ 663 w 1239"/>
              <a:gd name="T13" fmla="*/ 575 h 2363"/>
              <a:gd name="T14" fmla="*/ 568 w 1239"/>
              <a:gd name="T15" fmla="*/ 575 h 2363"/>
              <a:gd name="T16" fmla="*/ 568 w 1239"/>
              <a:gd name="T17" fmla="*/ 683 h 2363"/>
              <a:gd name="T18" fmla="*/ 447 w 1239"/>
              <a:gd name="T19" fmla="*/ 683 h 2363"/>
              <a:gd name="T20" fmla="*/ 447 w 1239"/>
              <a:gd name="T21" fmla="*/ 778 h 2363"/>
              <a:gd name="T22" fmla="*/ 568 w 1239"/>
              <a:gd name="T23" fmla="*/ 778 h 2363"/>
              <a:gd name="T24" fmla="*/ 568 w 1239"/>
              <a:gd name="T25" fmla="*/ 893 h 2363"/>
              <a:gd name="T26" fmla="*/ 460 w 1239"/>
              <a:gd name="T27" fmla="*/ 2078 h 2363"/>
              <a:gd name="T28" fmla="*/ 758 w 1239"/>
              <a:gd name="T29" fmla="*/ 2078 h 2363"/>
              <a:gd name="T30" fmla="*/ 758 w 1239"/>
              <a:gd name="T31" fmla="*/ 1983 h 2363"/>
              <a:gd name="T32" fmla="*/ 460 w 1239"/>
              <a:gd name="T33" fmla="*/ 1983 h 2363"/>
              <a:gd name="T34" fmla="*/ 460 w 1239"/>
              <a:gd name="T35" fmla="*/ 2078 h 2363"/>
              <a:gd name="T36" fmla="*/ 1070 w 1239"/>
              <a:gd name="T37" fmla="*/ 2083 h 2363"/>
              <a:gd name="T38" fmla="*/ 934 w 1239"/>
              <a:gd name="T39" fmla="*/ 2214 h 2363"/>
              <a:gd name="T40" fmla="*/ 285 w 1239"/>
              <a:gd name="T41" fmla="*/ 2214 h 2363"/>
              <a:gd name="T42" fmla="*/ 149 w 1239"/>
              <a:gd name="T43" fmla="*/ 2083 h 2363"/>
              <a:gd name="T44" fmla="*/ 149 w 1239"/>
              <a:gd name="T45" fmla="*/ 571 h 2363"/>
              <a:gd name="T46" fmla="*/ 285 w 1239"/>
              <a:gd name="T47" fmla="*/ 440 h 2363"/>
              <a:gd name="T48" fmla="*/ 934 w 1239"/>
              <a:gd name="T49" fmla="*/ 440 h 2363"/>
              <a:gd name="T50" fmla="*/ 1070 w 1239"/>
              <a:gd name="T51" fmla="*/ 571 h 2363"/>
              <a:gd name="T52" fmla="*/ 1070 w 1239"/>
              <a:gd name="T53" fmla="*/ 2083 h 2363"/>
              <a:gd name="T54" fmla="*/ 1066 w 1239"/>
              <a:gd name="T55" fmla="*/ 297 h 2363"/>
              <a:gd name="T56" fmla="*/ 900 w 1239"/>
              <a:gd name="T57" fmla="*/ 297 h 2363"/>
              <a:gd name="T58" fmla="*/ 900 w 1239"/>
              <a:gd name="T59" fmla="*/ 0 h 2363"/>
              <a:gd name="T60" fmla="*/ 338 w 1239"/>
              <a:gd name="T61" fmla="*/ 0 h 2363"/>
              <a:gd name="T62" fmla="*/ 338 w 1239"/>
              <a:gd name="T63" fmla="*/ 297 h 2363"/>
              <a:gd name="T64" fmla="*/ 175 w 1239"/>
              <a:gd name="T65" fmla="*/ 297 h 2363"/>
              <a:gd name="T66" fmla="*/ 0 w 1239"/>
              <a:gd name="T67" fmla="*/ 471 h 2363"/>
              <a:gd name="T68" fmla="*/ 0 w 1239"/>
              <a:gd name="T69" fmla="*/ 2207 h 2363"/>
              <a:gd name="T70" fmla="*/ 175 w 1239"/>
              <a:gd name="T71" fmla="*/ 2363 h 2363"/>
              <a:gd name="T72" fmla="*/ 1066 w 1239"/>
              <a:gd name="T73" fmla="*/ 2363 h 2363"/>
              <a:gd name="T74" fmla="*/ 1239 w 1239"/>
              <a:gd name="T75" fmla="*/ 2207 h 2363"/>
              <a:gd name="T76" fmla="*/ 1239 w 1239"/>
              <a:gd name="T77" fmla="*/ 471 h 2363"/>
              <a:gd name="T78" fmla="*/ 1066 w 1239"/>
              <a:gd name="T79" fmla="*/ 297 h 2363"/>
              <a:gd name="T80" fmla="*/ 798 w 1239"/>
              <a:gd name="T81" fmla="*/ 1063 h 2363"/>
              <a:gd name="T82" fmla="*/ 520 w 1239"/>
              <a:gd name="T83" fmla="*/ 1063 h 2363"/>
              <a:gd name="T84" fmla="*/ 406 w 1239"/>
              <a:gd name="T85" fmla="*/ 1500 h 2363"/>
              <a:gd name="T86" fmla="*/ 569 w 1239"/>
              <a:gd name="T87" fmla="*/ 1496 h 2363"/>
              <a:gd name="T88" fmla="*/ 552 w 1239"/>
              <a:gd name="T89" fmla="*/ 1825 h 2363"/>
              <a:gd name="T90" fmla="*/ 852 w 1239"/>
              <a:gd name="T91" fmla="*/ 1361 h 2363"/>
              <a:gd name="T92" fmla="*/ 646 w 1239"/>
              <a:gd name="T93" fmla="*/ 1361 h 2363"/>
              <a:gd name="T94" fmla="*/ 798 w 1239"/>
              <a:gd name="T95" fmla="*/ 1063 h 23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239" h="2363">
                <a:moveTo>
                  <a:pt x="568" y="893"/>
                </a:moveTo>
                <a:lnTo>
                  <a:pt x="663" y="893"/>
                </a:lnTo>
                <a:lnTo>
                  <a:pt x="663" y="778"/>
                </a:lnTo>
                <a:lnTo>
                  <a:pt x="772" y="778"/>
                </a:lnTo>
                <a:lnTo>
                  <a:pt x="772" y="683"/>
                </a:lnTo>
                <a:lnTo>
                  <a:pt x="663" y="683"/>
                </a:lnTo>
                <a:lnTo>
                  <a:pt x="663" y="575"/>
                </a:lnTo>
                <a:lnTo>
                  <a:pt x="568" y="575"/>
                </a:lnTo>
                <a:lnTo>
                  <a:pt x="568" y="683"/>
                </a:lnTo>
                <a:lnTo>
                  <a:pt x="447" y="683"/>
                </a:lnTo>
                <a:lnTo>
                  <a:pt x="447" y="778"/>
                </a:lnTo>
                <a:lnTo>
                  <a:pt x="568" y="778"/>
                </a:lnTo>
                <a:lnTo>
                  <a:pt x="568" y="893"/>
                </a:lnTo>
                <a:close/>
                <a:moveTo>
                  <a:pt x="460" y="2078"/>
                </a:moveTo>
                <a:lnTo>
                  <a:pt x="758" y="2078"/>
                </a:lnTo>
                <a:lnTo>
                  <a:pt x="758" y="1983"/>
                </a:lnTo>
                <a:lnTo>
                  <a:pt x="460" y="1983"/>
                </a:lnTo>
                <a:lnTo>
                  <a:pt x="460" y="2078"/>
                </a:lnTo>
                <a:close/>
                <a:moveTo>
                  <a:pt x="1070" y="2083"/>
                </a:moveTo>
                <a:cubicBezTo>
                  <a:pt x="1070" y="2155"/>
                  <a:pt x="1009" y="2214"/>
                  <a:pt x="934" y="2214"/>
                </a:cubicBezTo>
                <a:lnTo>
                  <a:pt x="285" y="2214"/>
                </a:lnTo>
                <a:cubicBezTo>
                  <a:pt x="210" y="2214"/>
                  <a:pt x="149" y="2155"/>
                  <a:pt x="149" y="2083"/>
                </a:cubicBezTo>
                <a:lnTo>
                  <a:pt x="149" y="571"/>
                </a:lnTo>
                <a:cubicBezTo>
                  <a:pt x="149" y="498"/>
                  <a:pt x="210" y="440"/>
                  <a:pt x="285" y="440"/>
                </a:cubicBezTo>
                <a:lnTo>
                  <a:pt x="934" y="440"/>
                </a:lnTo>
                <a:cubicBezTo>
                  <a:pt x="1009" y="440"/>
                  <a:pt x="1070" y="498"/>
                  <a:pt x="1070" y="571"/>
                </a:cubicBezTo>
                <a:lnTo>
                  <a:pt x="1070" y="2083"/>
                </a:lnTo>
                <a:close/>
                <a:moveTo>
                  <a:pt x="1066" y="297"/>
                </a:moveTo>
                <a:lnTo>
                  <a:pt x="900" y="297"/>
                </a:lnTo>
                <a:lnTo>
                  <a:pt x="900" y="0"/>
                </a:lnTo>
                <a:lnTo>
                  <a:pt x="338" y="0"/>
                </a:lnTo>
                <a:lnTo>
                  <a:pt x="338" y="297"/>
                </a:lnTo>
                <a:lnTo>
                  <a:pt x="175" y="297"/>
                </a:lnTo>
                <a:cubicBezTo>
                  <a:pt x="80" y="297"/>
                  <a:pt x="0" y="381"/>
                  <a:pt x="0" y="471"/>
                </a:cubicBezTo>
                <a:lnTo>
                  <a:pt x="0" y="2207"/>
                </a:lnTo>
                <a:cubicBezTo>
                  <a:pt x="0" y="2297"/>
                  <a:pt x="80" y="2363"/>
                  <a:pt x="175" y="2363"/>
                </a:cubicBezTo>
                <a:lnTo>
                  <a:pt x="1066" y="2363"/>
                </a:lnTo>
                <a:cubicBezTo>
                  <a:pt x="1161" y="2363"/>
                  <a:pt x="1239" y="2297"/>
                  <a:pt x="1239" y="2207"/>
                </a:cubicBezTo>
                <a:lnTo>
                  <a:pt x="1239" y="471"/>
                </a:lnTo>
                <a:cubicBezTo>
                  <a:pt x="1239" y="381"/>
                  <a:pt x="1161" y="297"/>
                  <a:pt x="1066" y="297"/>
                </a:cubicBezTo>
                <a:close/>
                <a:moveTo>
                  <a:pt x="798" y="1063"/>
                </a:moveTo>
                <a:lnTo>
                  <a:pt x="520" y="1063"/>
                </a:lnTo>
                <a:lnTo>
                  <a:pt x="406" y="1500"/>
                </a:lnTo>
                <a:lnTo>
                  <a:pt x="569" y="1496"/>
                </a:lnTo>
                <a:lnTo>
                  <a:pt x="552" y="1825"/>
                </a:lnTo>
                <a:lnTo>
                  <a:pt x="852" y="1361"/>
                </a:lnTo>
                <a:lnTo>
                  <a:pt x="646" y="1361"/>
                </a:lnTo>
                <a:lnTo>
                  <a:pt x="798" y="1063"/>
                </a:ln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9274454"/>
      </p:ext>
    </p:extLst>
  </p:cSld>
  <p:clrMapOvr>
    <a:masterClrMapping/>
  </p:clrMapOvr>
  <p:transition spd="slow">
    <p:cover dir="r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Activity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AE11013B-F66F-4CB1-AD52-DA2B6B13D61B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 rot="16200000">
            <a:off x="11252006" y="3126041"/>
            <a:ext cx="1211919" cy="605916"/>
            <a:chOff x="729" y="898"/>
            <a:chExt cx="233" cy="111"/>
          </a:xfrm>
          <a:solidFill>
            <a:srgbClr val="002060"/>
          </a:solidFill>
        </p:grpSpPr>
        <p:sp>
          <p:nvSpPr>
            <p:cNvPr id="16" name="Freeform 10">
              <a:extLst>
                <a:ext uri="{FF2B5EF4-FFF2-40B4-BE49-F238E27FC236}">
                  <a16:creationId xmlns:a16="http://schemas.microsoft.com/office/drawing/2014/main" id="{58237C00-1C13-42A4-BC53-BE32545D6A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9" y="898"/>
              <a:ext cx="182" cy="111"/>
            </a:xfrm>
            <a:custGeom>
              <a:avLst/>
              <a:gdLst>
                <a:gd name="T0" fmla="*/ 196 w 379"/>
                <a:gd name="T1" fmla="*/ 231 h 231"/>
                <a:gd name="T2" fmla="*/ 174 w 379"/>
                <a:gd name="T3" fmla="*/ 217 h 231"/>
                <a:gd name="T4" fmla="*/ 129 w 379"/>
                <a:gd name="T5" fmla="*/ 127 h 231"/>
                <a:gd name="T6" fmla="*/ 103 w 379"/>
                <a:gd name="T7" fmla="*/ 159 h 231"/>
                <a:gd name="T8" fmla="*/ 84 w 379"/>
                <a:gd name="T9" fmla="*/ 168 h 231"/>
                <a:gd name="T10" fmla="*/ 34 w 379"/>
                <a:gd name="T11" fmla="*/ 168 h 231"/>
                <a:gd name="T12" fmla="*/ 34 w 379"/>
                <a:gd name="T13" fmla="*/ 118 h 231"/>
                <a:gd name="T14" fmla="*/ 71 w 379"/>
                <a:gd name="T15" fmla="*/ 118 h 231"/>
                <a:gd name="T16" fmla="*/ 114 w 379"/>
                <a:gd name="T17" fmla="*/ 65 h 231"/>
                <a:gd name="T18" fmla="*/ 156 w 379"/>
                <a:gd name="T19" fmla="*/ 70 h 231"/>
                <a:gd name="T20" fmla="*/ 190 w 379"/>
                <a:gd name="T21" fmla="*/ 137 h 231"/>
                <a:gd name="T22" fmla="*/ 222 w 379"/>
                <a:gd name="T23" fmla="*/ 24 h 231"/>
                <a:gd name="T24" fmla="*/ 269 w 379"/>
                <a:gd name="T25" fmla="*/ 21 h 231"/>
                <a:gd name="T26" fmla="*/ 312 w 379"/>
                <a:gd name="T27" fmla="*/ 118 h 231"/>
                <a:gd name="T28" fmla="*/ 346 w 379"/>
                <a:gd name="T29" fmla="*/ 118 h 231"/>
                <a:gd name="T30" fmla="*/ 346 w 379"/>
                <a:gd name="T31" fmla="*/ 168 h 231"/>
                <a:gd name="T32" fmla="*/ 296 w 379"/>
                <a:gd name="T33" fmla="*/ 168 h 231"/>
                <a:gd name="T34" fmla="*/ 273 w 379"/>
                <a:gd name="T35" fmla="*/ 153 h 231"/>
                <a:gd name="T36" fmla="*/ 251 w 379"/>
                <a:gd name="T37" fmla="*/ 104 h 231"/>
                <a:gd name="T38" fmla="*/ 220 w 379"/>
                <a:gd name="T39" fmla="*/ 212 h 231"/>
                <a:gd name="T40" fmla="*/ 198 w 379"/>
                <a:gd name="T41" fmla="*/ 230 h 231"/>
                <a:gd name="T42" fmla="*/ 196 w 379"/>
                <a:gd name="T43" fmla="*/ 231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79" h="231">
                  <a:moveTo>
                    <a:pt x="196" y="231"/>
                  </a:moveTo>
                  <a:cubicBezTo>
                    <a:pt x="187" y="231"/>
                    <a:pt x="178" y="225"/>
                    <a:pt x="174" y="217"/>
                  </a:cubicBezTo>
                  <a:lnTo>
                    <a:pt x="129" y="127"/>
                  </a:lnTo>
                  <a:lnTo>
                    <a:pt x="103" y="159"/>
                  </a:lnTo>
                  <a:cubicBezTo>
                    <a:pt x="98" y="165"/>
                    <a:pt x="91" y="168"/>
                    <a:pt x="84" y="168"/>
                  </a:cubicBezTo>
                  <a:lnTo>
                    <a:pt x="34" y="168"/>
                  </a:lnTo>
                  <a:cubicBezTo>
                    <a:pt x="0" y="168"/>
                    <a:pt x="0" y="118"/>
                    <a:pt x="34" y="118"/>
                  </a:cubicBezTo>
                  <a:lnTo>
                    <a:pt x="71" y="118"/>
                  </a:lnTo>
                  <a:lnTo>
                    <a:pt x="114" y="65"/>
                  </a:lnTo>
                  <a:cubicBezTo>
                    <a:pt x="125" y="51"/>
                    <a:pt x="148" y="53"/>
                    <a:pt x="156" y="70"/>
                  </a:cubicBezTo>
                  <a:lnTo>
                    <a:pt x="190" y="137"/>
                  </a:lnTo>
                  <a:lnTo>
                    <a:pt x="222" y="24"/>
                  </a:lnTo>
                  <a:cubicBezTo>
                    <a:pt x="228" y="2"/>
                    <a:pt x="259" y="0"/>
                    <a:pt x="269" y="21"/>
                  </a:cubicBezTo>
                  <a:lnTo>
                    <a:pt x="312" y="118"/>
                  </a:lnTo>
                  <a:lnTo>
                    <a:pt x="346" y="118"/>
                  </a:lnTo>
                  <a:cubicBezTo>
                    <a:pt x="379" y="118"/>
                    <a:pt x="379" y="168"/>
                    <a:pt x="346" y="168"/>
                  </a:cubicBezTo>
                  <a:lnTo>
                    <a:pt x="296" y="168"/>
                  </a:lnTo>
                  <a:cubicBezTo>
                    <a:pt x="286" y="168"/>
                    <a:pt x="277" y="162"/>
                    <a:pt x="273" y="153"/>
                  </a:cubicBezTo>
                  <a:lnTo>
                    <a:pt x="251" y="104"/>
                  </a:lnTo>
                  <a:lnTo>
                    <a:pt x="220" y="212"/>
                  </a:lnTo>
                  <a:cubicBezTo>
                    <a:pt x="217" y="222"/>
                    <a:pt x="209" y="229"/>
                    <a:pt x="198" y="230"/>
                  </a:cubicBezTo>
                  <a:cubicBezTo>
                    <a:pt x="198" y="231"/>
                    <a:pt x="197" y="231"/>
                    <a:pt x="196" y="23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DF88F528-ABFF-4077-A9B1-B3D372F0D8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7" y="918"/>
              <a:ext cx="85" cy="84"/>
            </a:xfrm>
            <a:custGeom>
              <a:avLst/>
              <a:gdLst>
                <a:gd name="T0" fmla="*/ 101 w 176"/>
                <a:gd name="T1" fmla="*/ 175 h 175"/>
                <a:gd name="T2" fmla="*/ 47 w 176"/>
                <a:gd name="T3" fmla="*/ 47 h 175"/>
                <a:gd name="T4" fmla="*/ 176 w 176"/>
                <a:gd name="T5" fmla="*/ 100 h 175"/>
                <a:gd name="T6" fmla="*/ 101 w 176"/>
                <a:gd name="T7" fmla="*/ 175 h 175"/>
                <a:gd name="T8" fmla="*/ 101 w 176"/>
                <a:gd name="T9" fmla="*/ 66 h 175"/>
                <a:gd name="T10" fmla="*/ 77 w 176"/>
                <a:gd name="T11" fmla="*/ 124 h 175"/>
                <a:gd name="T12" fmla="*/ 135 w 176"/>
                <a:gd name="T13" fmla="*/ 100 h 175"/>
                <a:gd name="T14" fmla="*/ 101 w 176"/>
                <a:gd name="T15" fmla="*/ 66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6" h="175">
                  <a:moveTo>
                    <a:pt x="101" y="175"/>
                  </a:moveTo>
                  <a:cubicBezTo>
                    <a:pt x="34" y="175"/>
                    <a:pt x="0" y="94"/>
                    <a:pt x="47" y="47"/>
                  </a:cubicBezTo>
                  <a:cubicBezTo>
                    <a:pt x="95" y="0"/>
                    <a:pt x="176" y="33"/>
                    <a:pt x="176" y="100"/>
                  </a:cubicBezTo>
                  <a:cubicBezTo>
                    <a:pt x="176" y="141"/>
                    <a:pt x="142" y="175"/>
                    <a:pt x="101" y="175"/>
                  </a:cubicBezTo>
                  <a:close/>
                  <a:moveTo>
                    <a:pt x="101" y="66"/>
                  </a:moveTo>
                  <a:cubicBezTo>
                    <a:pt x="70" y="66"/>
                    <a:pt x="55" y="103"/>
                    <a:pt x="77" y="124"/>
                  </a:cubicBezTo>
                  <a:cubicBezTo>
                    <a:pt x="98" y="145"/>
                    <a:pt x="135" y="130"/>
                    <a:pt x="135" y="100"/>
                  </a:cubicBezTo>
                  <a:cubicBezTo>
                    <a:pt x="135" y="81"/>
                    <a:pt x="119" y="66"/>
                    <a:pt x="101" y="6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95B0D20D-C024-47A4-B0D1-3980914B715C}"/>
              </a:ext>
            </a:extLst>
          </p:cNvPr>
          <p:cNvSpPr/>
          <p:nvPr/>
        </p:nvSpPr>
        <p:spPr>
          <a:xfrm>
            <a:off x="-31076" y="0"/>
            <a:ext cx="12192000" cy="6858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>
            <a:outerShdw blurRad="215900" dist="38100" sx="101000" sy="101000" algn="ctr" rotWithShape="0">
              <a:schemeClr val="tx1">
                <a:alpha val="3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0B27CBFE-874A-4C45-83A7-FEF8C1305A7C}"/>
              </a:ext>
            </a:extLst>
          </p:cNvPr>
          <p:cNvSpPr/>
          <p:nvPr/>
        </p:nvSpPr>
        <p:spPr>
          <a:xfrm>
            <a:off x="10852985" y="2132924"/>
            <a:ext cx="1307939" cy="2592153"/>
          </a:xfrm>
          <a:custGeom>
            <a:avLst/>
            <a:gdLst>
              <a:gd name="connsiteX0" fmla="*/ 1307939 w 1307939"/>
              <a:gd name="connsiteY0" fmla="*/ 0 h 2592153"/>
              <a:gd name="connsiteX1" fmla="*/ 1307939 w 1307939"/>
              <a:gd name="connsiteY1" fmla="*/ 2592153 h 2592153"/>
              <a:gd name="connsiteX2" fmla="*/ 1179406 w 1307939"/>
              <a:gd name="connsiteY2" fmla="*/ 2585748 h 2592153"/>
              <a:gd name="connsiteX3" fmla="*/ 0 w 1307939"/>
              <a:gd name="connsiteY3" fmla="*/ 1296076 h 2592153"/>
              <a:gd name="connsiteX4" fmla="*/ 1179406 w 1307939"/>
              <a:gd name="connsiteY4" fmla="*/ 6404 h 25921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07939" h="2592153">
                <a:moveTo>
                  <a:pt x="1307939" y="0"/>
                </a:moveTo>
                <a:lnTo>
                  <a:pt x="1307939" y="2592153"/>
                </a:lnTo>
                <a:lnTo>
                  <a:pt x="1179406" y="2585748"/>
                </a:lnTo>
                <a:cubicBezTo>
                  <a:pt x="516952" y="2519361"/>
                  <a:pt x="0" y="1967292"/>
                  <a:pt x="0" y="1296076"/>
                </a:cubicBezTo>
                <a:cubicBezTo>
                  <a:pt x="0" y="624861"/>
                  <a:pt x="516952" y="72791"/>
                  <a:pt x="1179406" y="6404"/>
                </a:cubicBezTo>
                <a:close/>
              </a:path>
            </a:pathLst>
          </a:cu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92CC757-26D2-405C-8C46-27A10C262A48}"/>
              </a:ext>
            </a:extLst>
          </p:cNvPr>
          <p:cNvSpPr txBox="1"/>
          <p:nvPr/>
        </p:nvSpPr>
        <p:spPr>
          <a:xfrm>
            <a:off x="11658603" y="2474002"/>
            <a:ext cx="615553" cy="1582308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Rockwell Extra Bold" panose="02060903040505020403" pitchFamily="18" charset="0"/>
              </a:rPr>
              <a:t>FOOD</a:t>
            </a:r>
            <a:endParaRPr lang="fr-FR" sz="2800" dirty="0">
              <a:solidFill>
                <a:schemeClr val="bg1"/>
              </a:solidFill>
              <a:latin typeface="Rockwell Extra Bold" panose="02060903040505020403" pitchFamily="18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74D618A-B529-4F1F-821E-901854E49EE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3760" y="142327"/>
            <a:ext cx="7883161" cy="6573343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grpSp>
        <p:nvGrpSpPr>
          <p:cNvPr id="83" name="Food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246C24A-6E25-40AB-A87F-5F5D4381FA7F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11014046" y="2999644"/>
            <a:ext cx="669707" cy="855497"/>
            <a:chOff x="88" y="44"/>
            <a:chExt cx="310" cy="396"/>
          </a:xfrm>
          <a:solidFill>
            <a:schemeClr val="accent1"/>
          </a:solidFill>
        </p:grpSpPr>
        <p:sp>
          <p:nvSpPr>
            <p:cNvPr id="84" name="Food2">
              <a:extLst>
                <a:ext uri="{FF2B5EF4-FFF2-40B4-BE49-F238E27FC236}">
                  <a16:creationId xmlns:a16="http://schemas.microsoft.com/office/drawing/2014/main" id="{3486C645-6F17-4C0F-832E-3F68BBFB5C53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156" y="44"/>
              <a:ext cx="180" cy="92"/>
            </a:xfrm>
            <a:custGeom>
              <a:avLst/>
              <a:gdLst>
                <a:gd name="T0" fmla="*/ 280 w 477"/>
                <a:gd name="T1" fmla="*/ 246 h 246"/>
                <a:gd name="T2" fmla="*/ 371 w 477"/>
                <a:gd name="T3" fmla="*/ 203 h 246"/>
                <a:gd name="T4" fmla="*/ 427 w 477"/>
                <a:gd name="T5" fmla="*/ 80 h 246"/>
                <a:gd name="T6" fmla="*/ 330 w 477"/>
                <a:gd name="T7" fmla="*/ 113 h 246"/>
                <a:gd name="T8" fmla="*/ 301 w 477"/>
                <a:gd name="T9" fmla="*/ 110 h 246"/>
                <a:gd name="T10" fmla="*/ 198 w 477"/>
                <a:gd name="T11" fmla="*/ 0 h 246"/>
                <a:gd name="T12" fmla="*/ 125 w 477"/>
                <a:gd name="T13" fmla="*/ 111 h 246"/>
                <a:gd name="T14" fmla="*/ 19 w 477"/>
                <a:gd name="T15" fmla="*/ 109 h 246"/>
                <a:gd name="T16" fmla="*/ 30 w 477"/>
                <a:gd name="T17" fmla="*/ 167 h 246"/>
                <a:gd name="T18" fmla="*/ 71 w 477"/>
                <a:gd name="T19" fmla="*/ 207 h 246"/>
                <a:gd name="T20" fmla="*/ 139 w 477"/>
                <a:gd name="T21" fmla="*/ 246 h 246"/>
                <a:gd name="T22" fmla="*/ 280 w 477"/>
                <a:gd name="T23" fmla="*/ 246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77" h="246">
                  <a:moveTo>
                    <a:pt x="280" y="246"/>
                  </a:moveTo>
                  <a:cubicBezTo>
                    <a:pt x="330" y="246"/>
                    <a:pt x="349" y="225"/>
                    <a:pt x="371" y="203"/>
                  </a:cubicBezTo>
                  <a:cubicBezTo>
                    <a:pt x="392" y="182"/>
                    <a:pt x="477" y="109"/>
                    <a:pt x="427" y="80"/>
                  </a:cubicBezTo>
                  <a:cubicBezTo>
                    <a:pt x="376" y="51"/>
                    <a:pt x="330" y="113"/>
                    <a:pt x="330" y="113"/>
                  </a:cubicBezTo>
                  <a:cubicBezTo>
                    <a:pt x="320" y="125"/>
                    <a:pt x="307" y="124"/>
                    <a:pt x="301" y="110"/>
                  </a:cubicBezTo>
                  <a:cubicBezTo>
                    <a:pt x="301" y="110"/>
                    <a:pt x="253" y="0"/>
                    <a:pt x="198" y="0"/>
                  </a:cubicBezTo>
                  <a:cubicBezTo>
                    <a:pt x="144" y="0"/>
                    <a:pt x="146" y="99"/>
                    <a:pt x="125" y="111"/>
                  </a:cubicBezTo>
                  <a:cubicBezTo>
                    <a:pt x="104" y="122"/>
                    <a:pt x="44" y="67"/>
                    <a:pt x="19" y="109"/>
                  </a:cubicBezTo>
                  <a:cubicBezTo>
                    <a:pt x="0" y="140"/>
                    <a:pt x="30" y="167"/>
                    <a:pt x="30" y="167"/>
                  </a:cubicBezTo>
                  <a:cubicBezTo>
                    <a:pt x="42" y="178"/>
                    <a:pt x="60" y="195"/>
                    <a:pt x="71" y="207"/>
                  </a:cubicBezTo>
                  <a:cubicBezTo>
                    <a:pt x="71" y="207"/>
                    <a:pt x="110" y="246"/>
                    <a:pt x="139" y="246"/>
                  </a:cubicBezTo>
                  <a:cubicBezTo>
                    <a:pt x="168" y="246"/>
                    <a:pt x="280" y="246"/>
                    <a:pt x="280" y="246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Food2">
              <a:extLst>
                <a:ext uri="{FF2B5EF4-FFF2-40B4-BE49-F238E27FC236}">
                  <a16:creationId xmlns:a16="http://schemas.microsoft.com/office/drawing/2014/main" id="{EB0457D1-6540-4365-8998-F1DF5F8BE042}"/>
                </a:ext>
              </a:extLst>
            </p:cNvPr>
            <p:cNvSpPr>
              <a:spLocks noEditPoints="1"/>
            </p:cNvSpPr>
            <p:nvPr>
              <p:custDataLst>
                <p:tags r:id="rId4"/>
              </p:custDataLst>
            </p:nvPr>
          </p:nvSpPr>
          <p:spPr bwMode="auto">
            <a:xfrm>
              <a:off x="88" y="154"/>
              <a:ext cx="310" cy="286"/>
            </a:xfrm>
            <a:custGeom>
              <a:avLst/>
              <a:gdLst>
                <a:gd name="T0" fmla="*/ 720 w 825"/>
                <a:gd name="T1" fmla="*/ 254 h 758"/>
                <a:gd name="T2" fmla="*/ 358 w 825"/>
                <a:gd name="T3" fmla="*/ 0 h 758"/>
                <a:gd name="T4" fmla="*/ 4 w 825"/>
                <a:gd name="T5" fmla="*/ 675 h 758"/>
                <a:gd name="T6" fmla="*/ 393 w 825"/>
                <a:gd name="T7" fmla="*/ 757 h 758"/>
                <a:gd name="T8" fmla="*/ 382 w 825"/>
                <a:gd name="T9" fmla="*/ 646 h 758"/>
                <a:gd name="T10" fmla="*/ 340 w 825"/>
                <a:gd name="T11" fmla="*/ 592 h 758"/>
                <a:gd name="T12" fmla="*/ 351 w 825"/>
                <a:gd name="T13" fmla="*/ 565 h 758"/>
                <a:gd name="T14" fmla="*/ 423 w 825"/>
                <a:gd name="T15" fmla="*/ 608 h 758"/>
                <a:gd name="T16" fmla="*/ 485 w 825"/>
                <a:gd name="T17" fmla="*/ 570 h 758"/>
                <a:gd name="T18" fmla="*/ 474 w 825"/>
                <a:gd name="T19" fmla="*/ 616 h 758"/>
                <a:gd name="T20" fmla="*/ 431 w 825"/>
                <a:gd name="T21" fmla="*/ 671 h 758"/>
                <a:gd name="T22" fmla="*/ 805 w 825"/>
                <a:gd name="T23" fmla="*/ 719 h 758"/>
                <a:gd name="T24" fmla="*/ 319 w 825"/>
                <a:gd name="T25" fmla="*/ 217 h 758"/>
                <a:gd name="T26" fmla="*/ 386 w 825"/>
                <a:gd name="T27" fmla="*/ 260 h 758"/>
                <a:gd name="T28" fmla="*/ 396 w 825"/>
                <a:gd name="T29" fmla="*/ 326 h 758"/>
                <a:gd name="T30" fmla="*/ 325 w 825"/>
                <a:gd name="T31" fmla="*/ 274 h 758"/>
                <a:gd name="T32" fmla="*/ 395 w 825"/>
                <a:gd name="T33" fmla="*/ 547 h 758"/>
                <a:gd name="T34" fmla="*/ 324 w 825"/>
                <a:gd name="T35" fmla="*/ 496 h 758"/>
                <a:gd name="T36" fmla="*/ 329 w 825"/>
                <a:gd name="T37" fmla="*/ 434 h 758"/>
                <a:gd name="T38" fmla="*/ 395 w 825"/>
                <a:gd name="T39" fmla="*/ 502 h 758"/>
                <a:gd name="T40" fmla="*/ 396 w 825"/>
                <a:gd name="T41" fmla="*/ 438 h 758"/>
                <a:gd name="T42" fmla="*/ 325 w 825"/>
                <a:gd name="T43" fmla="*/ 386 h 758"/>
                <a:gd name="T44" fmla="*/ 330 w 825"/>
                <a:gd name="T45" fmla="*/ 324 h 758"/>
                <a:gd name="T46" fmla="*/ 396 w 825"/>
                <a:gd name="T47" fmla="*/ 392 h 758"/>
                <a:gd name="T48" fmla="*/ 422 w 825"/>
                <a:gd name="T49" fmla="*/ 216 h 758"/>
                <a:gd name="T50" fmla="*/ 377 w 825"/>
                <a:gd name="T51" fmla="*/ 195 h 758"/>
                <a:gd name="T52" fmla="*/ 406 w 825"/>
                <a:gd name="T53" fmla="*/ 113 h 758"/>
                <a:gd name="T54" fmla="*/ 451 w 825"/>
                <a:gd name="T55" fmla="*/ 176 h 758"/>
                <a:gd name="T56" fmla="*/ 422 w 825"/>
                <a:gd name="T57" fmla="*/ 216 h 758"/>
                <a:gd name="T58" fmla="*/ 437 w 825"/>
                <a:gd name="T59" fmla="*/ 552 h 758"/>
                <a:gd name="T60" fmla="*/ 428 w 825"/>
                <a:gd name="T61" fmla="*/ 502 h 758"/>
                <a:gd name="T62" fmla="*/ 494 w 825"/>
                <a:gd name="T63" fmla="*/ 434 h 758"/>
                <a:gd name="T64" fmla="*/ 499 w 825"/>
                <a:gd name="T65" fmla="*/ 496 h 758"/>
                <a:gd name="T66" fmla="*/ 429 w 825"/>
                <a:gd name="T67" fmla="*/ 392 h 758"/>
                <a:gd name="T68" fmla="*/ 495 w 825"/>
                <a:gd name="T69" fmla="*/ 324 h 758"/>
                <a:gd name="T70" fmla="*/ 500 w 825"/>
                <a:gd name="T71" fmla="*/ 386 h 758"/>
                <a:gd name="T72" fmla="*/ 429 w 825"/>
                <a:gd name="T73" fmla="*/ 438 h 758"/>
                <a:gd name="T74" fmla="*/ 438 w 825"/>
                <a:gd name="T75" fmla="*/ 330 h 758"/>
                <a:gd name="T76" fmla="*/ 429 w 825"/>
                <a:gd name="T77" fmla="*/ 280 h 758"/>
                <a:gd name="T78" fmla="*/ 495 w 825"/>
                <a:gd name="T79" fmla="*/ 212 h 758"/>
                <a:gd name="T80" fmla="*/ 499 w 825"/>
                <a:gd name="T81" fmla="*/ 274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25" h="758">
                  <a:moveTo>
                    <a:pt x="820" y="675"/>
                  </a:moveTo>
                  <a:cubicBezTo>
                    <a:pt x="820" y="675"/>
                    <a:pt x="745" y="422"/>
                    <a:pt x="720" y="254"/>
                  </a:cubicBezTo>
                  <a:cubicBezTo>
                    <a:pt x="695" y="85"/>
                    <a:pt x="525" y="0"/>
                    <a:pt x="467" y="0"/>
                  </a:cubicBezTo>
                  <a:lnTo>
                    <a:pt x="358" y="0"/>
                  </a:lnTo>
                  <a:cubicBezTo>
                    <a:pt x="289" y="0"/>
                    <a:pt x="130" y="85"/>
                    <a:pt x="105" y="254"/>
                  </a:cubicBezTo>
                  <a:cubicBezTo>
                    <a:pt x="79" y="422"/>
                    <a:pt x="4" y="675"/>
                    <a:pt x="4" y="675"/>
                  </a:cubicBezTo>
                  <a:cubicBezTo>
                    <a:pt x="0" y="690"/>
                    <a:pt x="8" y="708"/>
                    <a:pt x="22" y="716"/>
                  </a:cubicBezTo>
                  <a:cubicBezTo>
                    <a:pt x="22" y="716"/>
                    <a:pt x="97" y="755"/>
                    <a:pt x="393" y="757"/>
                  </a:cubicBezTo>
                  <a:lnTo>
                    <a:pt x="393" y="671"/>
                  </a:lnTo>
                  <a:cubicBezTo>
                    <a:pt x="393" y="663"/>
                    <a:pt x="388" y="652"/>
                    <a:pt x="382" y="646"/>
                  </a:cubicBezTo>
                  <a:lnTo>
                    <a:pt x="350" y="616"/>
                  </a:lnTo>
                  <a:cubicBezTo>
                    <a:pt x="345" y="611"/>
                    <a:pt x="340" y="600"/>
                    <a:pt x="340" y="592"/>
                  </a:cubicBezTo>
                  <a:lnTo>
                    <a:pt x="340" y="570"/>
                  </a:lnTo>
                  <a:cubicBezTo>
                    <a:pt x="340" y="562"/>
                    <a:pt x="345" y="559"/>
                    <a:pt x="351" y="565"/>
                  </a:cubicBezTo>
                  <a:lnTo>
                    <a:pt x="401" y="608"/>
                  </a:lnTo>
                  <a:cubicBezTo>
                    <a:pt x="407" y="613"/>
                    <a:pt x="417" y="613"/>
                    <a:pt x="423" y="608"/>
                  </a:cubicBezTo>
                  <a:lnTo>
                    <a:pt x="474" y="565"/>
                  </a:lnTo>
                  <a:cubicBezTo>
                    <a:pt x="480" y="559"/>
                    <a:pt x="485" y="562"/>
                    <a:pt x="485" y="570"/>
                  </a:cubicBezTo>
                  <a:lnTo>
                    <a:pt x="485" y="592"/>
                  </a:lnTo>
                  <a:cubicBezTo>
                    <a:pt x="485" y="600"/>
                    <a:pt x="480" y="611"/>
                    <a:pt x="474" y="616"/>
                  </a:cubicBezTo>
                  <a:lnTo>
                    <a:pt x="442" y="646"/>
                  </a:lnTo>
                  <a:cubicBezTo>
                    <a:pt x="436" y="652"/>
                    <a:pt x="431" y="663"/>
                    <a:pt x="431" y="671"/>
                  </a:cubicBezTo>
                  <a:lnTo>
                    <a:pt x="431" y="758"/>
                  </a:lnTo>
                  <a:cubicBezTo>
                    <a:pt x="752" y="757"/>
                    <a:pt x="805" y="719"/>
                    <a:pt x="805" y="719"/>
                  </a:cubicBezTo>
                  <a:cubicBezTo>
                    <a:pt x="818" y="710"/>
                    <a:pt x="825" y="690"/>
                    <a:pt x="820" y="675"/>
                  </a:cubicBezTo>
                  <a:close/>
                  <a:moveTo>
                    <a:pt x="319" y="217"/>
                  </a:moveTo>
                  <a:cubicBezTo>
                    <a:pt x="319" y="210"/>
                    <a:pt x="324" y="208"/>
                    <a:pt x="330" y="212"/>
                  </a:cubicBezTo>
                  <a:lnTo>
                    <a:pt x="386" y="260"/>
                  </a:lnTo>
                  <a:cubicBezTo>
                    <a:pt x="392" y="265"/>
                    <a:pt x="396" y="274"/>
                    <a:pt x="396" y="281"/>
                  </a:cubicBezTo>
                  <a:lnTo>
                    <a:pt x="396" y="326"/>
                  </a:lnTo>
                  <a:cubicBezTo>
                    <a:pt x="396" y="333"/>
                    <a:pt x="392" y="335"/>
                    <a:pt x="387" y="330"/>
                  </a:cubicBezTo>
                  <a:cubicBezTo>
                    <a:pt x="387" y="330"/>
                    <a:pt x="337" y="286"/>
                    <a:pt x="325" y="274"/>
                  </a:cubicBezTo>
                  <a:cubicBezTo>
                    <a:pt x="313" y="263"/>
                    <a:pt x="319" y="217"/>
                    <a:pt x="319" y="217"/>
                  </a:cubicBezTo>
                  <a:close/>
                  <a:moveTo>
                    <a:pt x="395" y="547"/>
                  </a:moveTo>
                  <a:cubicBezTo>
                    <a:pt x="395" y="554"/>
                    <a:pt x="391" y="556"/>
                    <a:pt x="386" y="552"/>
                  </a:cubicBezTo>
                  <a:cubicBezTo>
                    <a:pt x="386" y="552"/>
                    <a:pt x="332" y="504"/>
                    <a:pt x="324" y="496"/>
                  </a:cubicBezTo>
                  <a:cubicBezTo>
                    <a:pt x="316" y="488"/>
                    <a:pt x="319" y="438"/>
                    <a:pt x="319" y="438"/>
                  </a:cubicBezTo>
                  <a:cubicBezTo>
                    <a:pt x="319" y="431"/>
                    <a:pt x="323" y="429"/>
                    <a:pt x="329" y="434"/>
                  </a:cubicBezTo>
                  <a:lnTo>
                    <a:pt x="385" y="482"/>
                  </a:lnTo>
                  <a:cubicBezTo>
                    <a:pt x="391" y="486"/>
                    <a:pt x="395" y="495"/>
                    <a:pt x="395" y="502"/>
                  </a:cubicBezTo>
                  <a:lnTo>
                    <a:pt x="395" y="547"/>
                  </a:lnTo>
                  <a:close/>
                  <a:moveTo>
                    <a:pt x="396" y="438"/>
                  </a:moveTo>
                  <a:cubicBezTo>
                    <a:pt x="396" y="445"/>
                    <a:pt x="392" y="446"/>
                    <a:pt x="387" y="442"/>
                  </a:cubicBezTo>
                  <a:cubicBezTo>
                    <a:pt x="387" y="442"/>
                    <a:pt x="337" y="398"/>
                    <a:pt x="325" y="386"/>
                  </a:cubicBezTo>
                  <a:cubicBezTo>
                    <a:pt x="314" y="375"/>
                    <a:pt x="319" y="329"/>
                    <a:pt x="319" y="329"/>
                  </a:cubicBezTo>
                  <a:cubicBezTo>
                    <a:pt x="320" y="322"/>
                    <a:pt x="325" y="320"/>
                    <a:pt x="330" y="324"/>
                  </a:cubicBezTo>
                  <a:lnTo>
                    <a:pt x="387" y="372"/>
                  </a:lnTo>
                  <a:cubicBezTo>
                    <a:pt x="392" y="376"/>
                    <a:pt x="396" y="386"/>
                    <a:pt x="396" y="392"/>
                  </a:cubicBezTo>
                  <a:lnTo>
                    <a:pt x="396" y="438"/>
                  </a:lnTo>
                  <a:close/>
                  <a:moveTo>
                    <a:pt x="422" y="216"/>
                  </a:moveTo>
                  <a:cubicBezTo>
                    <a:pt x="417" y="220"/>
                    <a:pt x="408" y="220"/>
                    <a:pt x="403" y="216"/>
                  </a:cubicBezTo>
                  <a:lnTo>
                    <a:pt x="377" y="195"/>
                  </a:lnTo>
                  <a:cubicBezTo>
                    <a:pt x="372" y="191"/>
                    <a:pt x="370" y="182"/>
                    <a:pt x="373" y="176"/>
                  </a:cubicBezTo>
                  <a:lnTo>
                    <a:pt x="406" y="113"/>
                  </a:lnTo>
                  <a:cubicBezTo>
                    <a:pt x="410" y="107"/>
                    <a:pt x="415" y="107"/>
                    <a:pt x="418" y="113"/>
                  </a:cubicBezTo>
                  <a:lnTo>
                    <a:pt x="451" y="176"/>
                  </a:lnTo>
                  <a:cubicBezTo>
                    <a:pt x="455" y="182"/>
                    <a:pt x="453" y="191"/>
                    <a:pt x="448" y="195"/>
                  </a:cubicBezTo>
                  <a:lnTo>
                    <a:pt x="422" y="216"/>
                  </a:lnTo>
                  <a:close/>
                  <a:moveTo>
                    <a:pt x="499" y="496"/>
                  </a:moveTo>
                  <a:cubicBezTo>
                    <a:pt x="485" y="508"/>
                    <a:pt x="437" y="552"/>
                    <a:pt x="437" y="552"/>
                  </a:cubicBezTo>
                  <a:cubicBezTo>
                    <a:pt x="432" y="556"/>
                    <a:pt x="428" y="554"/>
                    <a:pt x="428" y="547"/>
                  </a:cubicBezTo>
                  <a:lnTo>
                    <a:pt x="428" y="502"/>
                  </a:lnTo>
                  <a:cubicBezTo>
                    <a:pt x="428" y="495"/>
                    <a:pt x="432" y="486"/>
                    <a:pt x="437" y="482"/>
                  </a:cubicBezTo>
                  <a:lnTo>
                    <a:pt x="494" y="434"/>
                  </a:lnTo>
                  <a:cubicBezTo>
                    <a:pt x="499" y="429"/>
                    <a:pt x="504" y="431"/>
                    <a:pt x="505" y="438"/>
                  </a:cubicBezTo>
                  <a:cubicBezTo>
                    <a:pt x="505" y="438"/>
                    <a:pt x="512" y="484"/>
                    <a:pt x="499" y="496"/>
                  </a:cubicBezTo>
                  <a:close/>
                  <a:moveTo>
                    <a:pt x="429" y="438"/>
                  </a:moveTo>
                  <a:lnTo>
                    <a:pt x="429" y="392"/>
                  </a:lnTo>
                  <a:cubicBezTo>
                    <a:pt x="429" y="386"/>
                    <a:pt x="433" y="376"/>
                    <a:pt x="438" y="372"/>
                  </a:cubicBezTo>
                  <a:lnTo>
                    <a:pt x="495" y="324"/>
                  </a:lnTo>
                  <a:cubicBezTo>
                    <a:pt x="500" y="320"/>
                    <a:pt x="505" y="322"/>
                    <a:pt x="506" y="329"/>
                  </a:cubicBezTo>
                  <a:cubicBezTo>
                    <a:pt x="506" y="329"/>
                    <a:pt x="510" y="376"/>
                    <a:pt x="500" y="386"/>
                  </a:cubicBezTo>
                  <a:cubicBezTo>
                    <a:pt x="489" y="397"/>
                    <a:pt x="438" y="442"/>
                    <a:pt x="438" y="442"/>
                  </a:cubicBezTo>
                  <a:cubicBezTo>
                    <a:pt x="433" y="446"/>
                    <a:pt x="429" y="445"/>
                    <a:pt x="429" y="438"/>
                  </a:cubicBezTo>
                  <a:close/>
                  <a:moveTo>
                    <a:pt x="499" y="274"/>
                  </a:moveTo>
                  <a:cubicBezTo>
                    <a:pt x="488" y="285"/>
                    <a:pt x="438" y="330"/>
                    <a:pt x="438" y="330"/>
                  </a:cubicBezTo>
                  <a:cubicBezTo>
                    <a:pt x="433" y="335"/>
                    <a:pt x="429" y="333"/>
                    <a:pt x="429" y="326"/>
                  </a:cubicBezTo>
                  <a:lnTo>
                    <a:pt x="429" y="280"/>
                  </a:lnTo>
                  <a:cubicBezTo>
                    <a:pt x="429" y="274"/>
                    <a:pt x="433" y="265"/>
                    <a:pt x="438" y="260"/>
                  </a:cubicBezTo>
                  <a:lnTo>
                    <a:pt x="495" y="212"/>
                  </a:lnTo>
                  <a:cubicBezTo>
                    <a:pt x="500" y="208"/>
                    <a:pt x="505" y="210"/>
                    <a:pt x="506" y="217"/>
                  </a:cubicBezTo>
                  <a:cubicBezTo>
                    <a:pt x="506" y="217"/>
                    <a:pt x="511" y="264"/>
                    <a:pt x="499" y="274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314869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Activity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1EA9B483-CE9F-40BF-8547-FD894BD3D38C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 rot="16200000">
            <a:off x="11283082" y="3116736"/>
            <a:ext cx="1211919" cy="605916"/>
            <a:chOff x="729" y="898"/>
            <a:chExt cx="233" cy="111"/>
          </a:xfrm>
          <a:solidFill>
            <a:srgbClr val="002060"/>
          </a:solidFill>
        </p:grpSpPr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ACD96EBC-5BA5-4BAB-ACFE-E200322EECDC}"/>
                </a:ext>
              </a:extLst>
            </p:cNvPr>
            <p:cNvSpPr>
              <a:spLocks/>
            </p:cNvSpPr>
            <p:nvPr/>
          </p:nvSpPr>
          <p:spPr bwMode="auto">
            <a:xfrm>
              <a:off x="729" y="898"/>
              <a:ext cx="182" cy="111"/>
            </a:xfrm>
            <a:custGeom>
              <a:avLst/>
              <a:gdLst>
                <a:gd name="T0" fmla="*/ 196 w 379"/>
                <a:gd name="T1" fmla="*/ 231 h 231"/>
                <a:gd name="T2" fmla="*/ 174 w 379"/>
                <a:gd name="T3" fmla="*/ 217 h 231"/>
                <a:gd name="T4" fmla="*/ 129 w 379"/>
                <a:gd name="T5" fmla="*/ 127 h 231"/>
                <a:gd name="T6" fmla="*/ 103 w 379"/>
                <a:gd name="T7" fmla="*/ 159 h 231"/>
                <a:gd name="T8" fmla="*/ 84 w 379"/>
                <a:gd name="T9" fmla="*/ 168 h 231"/>
                <a:gd name="T10" fmla="*/ 34 w 379"/>
                <a:gd name="T11" fmla="*/ 168 h 231"/>
                <a:gd name="T12" fmla="*/ 34 w 379"/>
                <a:gd name="T13" fmla="*/ 118 h 231"/>
                <a:gd name="T14" fmla="*/ 71 w 379"/>
                <a:gd name="T15" fmla="*/ 118 h 231"/>
                <a:gd name="T16" fmla="*/ 114 w 379"/>
                <a:gd name="T17" fmla="*/ 65 h 231"/>
                <a:gd name="T18" fmla="*/ 156 w 379"/>
                <a:gd name="T19" fmla="*/ 70 h 231"/>
                <a:gd name="T20" fmla="*/ 190 w 379"/>
                <a:gd name="T21" fmla="*/ 137 h 231"/>
                <a:gd name="T22" fmla="*/ 222 w 379"/>
                <a:gd name="T23" fmla="*/ 24 h 231"/>
                <a:gd name="T24" fmla="*/ 269 w 379"/>
                <a:gd name="T25" fmla="*/ 21 h 231"/>
                <a:gd name="T26" fmla="*/ 312 w 379"/>
                <a:gd name="T27" fmla="*/ 118 h 231"/>
                <a:gd name="T28" fmla="*/ 346 w 379"/>
                <a:gd name="T29" fmla="*/ 118 h 231"/>
                <a:gd name="T30" fmla="*/ 346 w 379"/>
                <a:gd name="T31" fmla="*/ 168 h 231"/>
                <a:gd name="T32" fmla="*/ 296 w 379"/>
                <a:gd name="T33" fmla="*/ 168 h 231"/>
                <a:gd name="T34" fmla="*/ 273 w 379"/>
                <a:gd name="T35" fmla="*/ 153 h 231"/>
                <a:gd name="T36" fmla="*/ 251 w 379"/>
                <a:gd name="T37" fmla="*/ 104 h 231"/>
                <a:gd name="T38" fmla="*/ 220 w 379"/>
                <a:gd name="T39" fmla="*/ 212 h 231"/>
                <a:gd name="T40" fmla="*/ 198 w 379"/>
                <a:gd name="T41" fmla="*/ 230 h 231"/>
                <a:gd name="T42" fmla="*/ 196 w 379"/>
                <a:gd name="T43" fmla="*/ 231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79" h="231">
                  <a:moveTo>
                    <a:pt x="196" y="231"/>
                  </a:moveTo>
                  <a:cubicBezTo>
                    <a:pt x="187" y="231"/>
                    <a:pt x="178" y="225"/>
                    <a:pt x="174" y="217"/>
                  </a:cubicBezTo>
                  <a:lnTo>
                    <a:pt x="129" y="127"/>
                  </a:lnTo>
                  <a:lnTo>
                    <a:pt x="103" y="159"/>
                  </a:lnTo>
                  <a:cubicBezTo>
                    <a:pt x="98" y="165"/>
                    <a:pt x="91" y="168"/>
                    <a:pt x="84" y="168"/>
                  </a:cubicBezTo>
                  <a:lnTo>
                    <a:pt x="34" y="168"/>
                  </a:lnTo>
                  <a:cubicBezTo>
                    <a:pt x="0" y="168"/>
                    <a:pt x="0" y="118"/>
                    <a:pt x="34" y="118"/>
                  </a:cubicBezTo>
                  <a:lnTo>
                    <a:pt x="71" y="118"/>
                  </a:lnTo>
                  <a:lnTo>
                    <a:pt x="114" y="65"/>
                  </a:lnTo>
                  <a:cubicBezTo>
                    <a:pt x="125" y="51"/>
                    <a:pt x="148" y="53"/>
                    <a:pt x="156" y="70"/>
                  </a:cubicBezTo>
                  <a:lnTo>
                    <a:pt x="190" y="137"/>
                  </a:lnTo>
                  <a:lnTo>
                    <a:pt x="222" y="24"/>
                  </a:lnTo>
                  <a:cubicBezTo>
                    <a:pt x="228" y="2"/>
                    <a:pt x="259" y="0"/>
                    <a:pt x="269" y="21"/>
                  </a:cubicBezTo>
                  <a:lnTo>
                    <a:pt x="312" y="118"/>
                  </a:lnTo>
                  <a:lnTo>
                    <a:pt x="346" y="118"/>
                  </a:lnTo>
                  <a:cubicBezTo>
                    <a:pt x="379" y="118"/>
                    <a:pt x="379" y="168"/>
                    <a:pt x="346" y="168"/>
                  </a:cubicBezTo>
                  <a:lnTo>
                    <a:pt x="296" y="168"/>
                  </a:lnTo>
                  <a:cubicBezTo>
                    <a:pt x="286" y="168"/>
                    <a:pt x="277" y="162"/>
                    <a:pt x="273" y="153"/>
                  </a:cubicBezTo>
                  <a:lnTo>
                    <a:pt x="251" y="104"/>
                  </a:lnTo>
                  <a:lnTo>
                    <a:pt x="220" y="212"/>
                  </a:lnTo>
                  <a:cubicBezTo>
                    <a:pt x="217" y="222"/>
                    <a:pt x="209" y="229"/>
                    <a:pt x="198" y="230"/>
                  </a:cubicBezTo>
                  <a:cubicBezTo>
                    <a:pt x="198" y="231"/>
                    <a:pt x="197" y="231"/>
                    <a:pt x="196" y="23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C0553494-576A-4EFE-9475-D4D0F889BA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7" y="918"/>
              <a:ext cx="85" cy="84"/>
            </a:xfrm>
            <a:custGeom>
              <a:avLst/>
              <a:gdLst>
                <a:gd name="T0" fmla="*/ 101 w 176"/>
                <a:gd name="T1" fmla="*/ 175 h 175"/>
                <a:gd name="T2" fmla="*/ 47 w 176"/>
                <a:gd name="T3" fmla="*/ 47 h 175"/>
                <a:gd name="T4" fmla="*/ 176 w 176"/>
                <a:gd name="T5" fmla="*/ 100 h 175"/>
                <a:gd name="T6" fmla="*/ 101 w 176"/>
                <a:gd name="T7" fmla="*/ 175 h 175"/>
                <a:gd name="T8" fmla="*/ 101 w 176"/>
                <a:gd name="T9" fmla="*/ 66 h 175"/>
                <a:gd name="T10" fmla="*/ 77 w 176"/>
                <a:gd name="T11" fmla="*/ 124 h 175"/>
                <a:gd name="T12" fmla="*/ 135 w 176"/>
                <a:gd name="T13" fmla="*/ 100 h 175"/>
                <a:gd name="T14" fmla="*/ 101 w 176"/>
                <a:gd name="T15" fmla="*/ 66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6" h="175">
                  <a:moveTo>
                    <a:pt x="101" y="175"/>
                  </a:moveTo>
                  <a:cubicBezTo>
                    <a:pt x="34" y="175"/>
                    <a:pt x="0" y="94"/>
                    <a:pt x="47" y="47"/>
                  </a:cubicBezTo>
                  <a:cubicBezTo>
                    <a:pt x="95" y="0"/>
                    <a:pt x="176" y="33"/>
                    <a:pt x="176" y="100"/>
                  </a:cubicBezTo>
                  <a:cubicBezTo>
                    <a:pt x="176" y="141"/>
                    <a:pt x="142" y="175"/>
                    <a:pt x="101" y="175"/>
                  </a:cubicBezTo>
                  <a:close/>
                  <a:moveTo>
                    <a:pt x="101" y="66"/>
                  </a:moveTo>
                  <a:cubicBezTo>
                    <a:pt x="70" y="66"/>
                    <a:pt x="55" y="103"/>
                    <a:pt x="77" y="124"/>
                  </a:cubicBezTo>
                  <a:cubicBezTo>
                    <a:pt x="98" y="145"/>
                    <a:pt x="135" y="130"/>
                    <a:pt x="135" y="100"/>
                  </a:cubicBezTo>
                  <a:cubicBezTo>
                    <a:pt x="135" y="81"/>
                    <a:pt x="119" y="66"/>
                    <a:pt x="101" y="6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242DAA82-93D8-44F5-88E3-602E815665D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>
            <a:outerShdw blurRad="215900" dist="38100" sx="101000" sy="101000" algn="ctr" rotWithShape="0">
              <a:schemeClr val="tx1">
                <a:alpha val="3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A0742BF8-CDAD-4AF6-9E53-ADB8FD986CAA}"/>
              </a:ext>
            </a:extLst>
          </p:cNvPr>
          <p:cNvSpPr/>
          <p:nvPr/>
        </p:nvSpPr>
        <p:spPr>
          <a:xfrm>
            <a:off x="10884061" y="2123619"/>
            <a:ext cx="1307939" cy="2592153"/>
          </a:xfrm>
          <a:custGeom>
            <a:avLst/>
            <a:gdLst>
              <a:gd name="connsiteX0" fmla="*/ 1307939 w 1307939"/>
              <a:gd name="connsiteY0" fmla="*/ 0 h 2592153"/>
              <a:gd name="connsiteX1" fmla="*/ 1307939 w 1307939"/>
              <a:gd name="connsiteY1" fmla="*/ 2592153 h 2592153"/>
              <a:gd name="connsiteX2" fmla="*/ 1179406 w 1307939"/>
              <a:gd name="connsiteY2" fmla="*/ 2585748 h 2592153"/>
              <a:gd name="connsiteX3" fmla="*/ 0 w 1307939"/>
              <a:gd name="connsiteY3" fmla="*/ 1296076 h 2592153"/>
              <a:gd name="connsiteX4" fmla="*/ 1179406 w 1307939"/>
              <a:gd name="connsiteY4" fmla="*/ 6404 h 25921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07939" h="2592153">
                <a:moveTo>
                  <a:pt x="1307939" y="0"/>
                </a:moveTo>
                <a:lnTo>
                  <a:pt x="1307939" y="2592153"/>
                </a:lnTo>
                <a:lnTo>
                  <a:pt x="1179406" y="2585748"/>
                </a:lnTo>
                <a:cubicBezTo>
                  <a:pt x="516952" y="2519361"/>
                  <a:pt x="0" y="1967292"/>
                  <a:pt x="0" y="1296076"/>
                </a:cubicBezTo>
                <a:cubicBezTo>
                  <a:pt x="0" y="624861"/>
                  <a:pt x="516952" y="72791"/>
                  <a:pt x="1179406" y="6404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7C0D303-2E93-47E5-B79E-BC870783B917}"/>
              </a:ext>
            </a:extLst>
          </p:cNvPr>
          <p:cNvSpPr txBox="1"/>
          <p:nvPr/>
        </p:nvSpPr>
        <p:spPr>
          <a:xfrm>
            <a:off x="11701736" y="2823537"/>
            <a:ext cx="615553" cy="1237299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Rockwell Extra Bold" panose="02060903040505020403" pitchFamily="18" charset="0"/>
              </a:rPr>
              <a:t>PLAN</a:t>
            </a:r>
            <a:endParaRPr lang="fr-FR" sz="2800" dirty="0">
              <a:solidFill>
                <a:schemeClr val="bg1"/>
              </a:solidFill>
              <a:latin typeface="Rockwell Extra Bold" panose="02060903040505020403" pitchFamily="18" charset="0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DDA5D996-0086-4096-8270-A932E21372B1}"/>
              </a:ext>
            </a:extLst>
          </p:cNvPr>
          <p:cNvGrpSpPr>
            <a:grpSpLocks noChangeAspect="1"/>
          </p:cNvGrpSpPr>
          <p:nvPr/>
        </p:nvGrpSpPr>
        <p:grpSpPr>
          <a:xfrm>
            <a:off x="8265320" y="1600715"/>
            <a:ext cx="1812254" cy="1828285"/>
            <a:chOff x="9268877" y="1596791"/>
            <a:chExt cx="1005840" cy="1014737"/>
          </a:xfrm>
        </p:grpSpPr>
        <p:sp>
          <p:nvSpPr>
            <p:cNvPr id="29" name="Arc 28">
              <a:extLst>
                <a:ext uri="{FF2B5EF4-FFF2-40B4-BE49-F238E27FC236}">
                  <a16:creationId xmlns:a16="http://schemas.microsoft.com/office/drawing/2014/main" id="{4FD864A0-01CC-4B14-898F-5F04B27521A8}"/>
                </a:ext>
              </a:extLst>
            </p:cNvPr>
            <p:cNvSpPr>
              <a:spLocks noChangeAspect="1"/>
            </p:cNvSpPr>
            <p:nvPr/>
          </p:nvSpPr>
          <p:spPr>
            <a:xfrm rot="5400000">
              <a:off x="9268877" y="1605688"/>
              <a:ext cx="1005840" cy="1005840"/>
            </a:xfrm>
            <a:prstGeom prst="arc">
              <a:avLst>
                <a:gd name="adj1" fmla="val 16200000"/>
                <a:gd name="adj2" fmla="val 66898"/>
              </a:avLst>
            </a:prstGeom>
            <a:ln w="152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Arc 29">
              <a:extLst>
                <a:ext uri="{FF2B5EF4-FFF2-40B4-BE49-F238E27FC236}">
                  <a16:creationId xmlns:a16="http://schemas.microsoft.com/office/drawing/2014/main" id="{82BD3EF2-7BB8-42FE-B265-D33D8C67AA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268877" y="1596791"/>
              <a:ext cx="1005840" cy="1005840"/>
            </a:xfrm>
            <a:prstGeom prst="arc">
              <a:avLst>
                <a:gd name="adj1" fmla="val 16200000"/>
                <a:gd name="adj2" fmla="val 66898"/>
              </a:avLst>
            </a:prstGeom>
            <a:ln w="152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44B650E7-8A3D-4C0C-B761-1C006400B816}"/>
              </a:ext>
            </a:extLst>
          </p:cNvPr>
          <p:cNvCxnSpPr>
            <a:cxnSpLocks/>
          </p:cNvCxnSpPr>
          <p:nvPr/>
        </p:nvCxnSpPr>
        <p:spPr>
          <a:xfrm>
            <a:off x="3343645" y="1600715"/>
            <a:ext cx="5837530" cy="0"/>
          </a:xfrm>
          <a:prstGeom prst="line">
            <a:avLst/>
          </a:prstGeom>
          <a:ln w="152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Oval 31">
            <a:extLst>
              <a:ext uri="{FF2B5EF4-FFF2-40B4-BE49-F238E27FC236}">
                <a16:creationId xmlns:a16="http://schemas.microsoft.com/office/drawing/2014/main" id="{794029F1-74B7-453F-96B9-5D89FC6AE2CC}"/>
              </a:ext>
            </a:extLst>
          </p:cNvPr>
          <p:cNvSpPr>
            <a:spLocks noChangeAspect="1"/>
          </p:cNvSpPr>
          <p:nvPr/>
        </p:nvSpPr>
        <p:spPr>
          <a:xfrm>
            <a:off x="3306565" y="1499520"/>
            <a:ext cx="202389" cy="202389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39C7E652-3158-41C2-82A9-C3CAAF4C3968}"/>
              </a:ext>
            </a:extLst>
          </p:cNvPr>
          <p:cNvSpPr>
            <a:spLocks noChangeAspect="1"/>
          </p:cNvSpPr>
          <p:nvPr/>
        </p:nvSpPr>
        <p:spPr>
          <a:xfrm>
            <a:off x="6295949" y="1502423"/>
            <a:ext cx="202389" cy="202389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EDB69D4D-7EAB-473C-824B-373021F410B6}"/>
              </a:ext>
            </a:extLst>
          </p:cNvPr>
          <p:cNvSpPr>
            <a:spLocks noChangeAspect="1"/>
          </p:cNvSpPr>
          <p:nvPr/>
        </p:nvSpPr>
        <p:spPr>
          <a:xfrm>
            <a:off x="9096902" y="1502424"/>
            <a:ext cx="202389" cy="202389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83D8F4C1-6465-4D32-BF5C-1F0D8C3A23E3}"/>
              </a:ext>
            </a:extLst>
          </p:cNvPr>
          <p:cNvCxnSpPr>
            <a:cxnSpLocks/>
          </p:cNvCxnSpPr>
          <p:nvPr/>
        </p:nvCxnSpPr>
        <p:spPr>
          <a:xfrm flipV="1">
            <a:off x="3638507" y="3425683"/>
            <a:ext cx="5525099" cy="63"/>
          </a:xfrm>
          <a:prstGeom prst="line">
            <a:avLst/>
          </a:prstGeom>
          <a:ln w="152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463857B4-C39B-4983-8360-9772B602D06A}"/>
              </a:ext>
            </a:extLst>
          </p:cNvPr>
          <p:cNvCxnSpPr>
            <a:cxnSpLocks/>
          </p:cNvCxnSpPr>
          <p:nvPr/>
        </p:nvCxnSpPr>
        <p:spPr>
          <a:xfrm flipV="1">
            <a:off x="3632061" y="5257308"/>
            <a:ext cx="5525099" cy="63"/>
          </a:xfrm>
          <a:prstGeom prst="line">
            <a:avLst/>
          </a:prstGeom>
          <a:ln w="15240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91C049D0-C0C4-4588-9973-34A9286325C4}"/>
              </a:ext>
            </a:extLst>
          </p:cNvPr>
          <p:cNvSpPr txBox="1"/>
          <p:nvPr/>
        </p:nvSpPr>
        <p:spPr>
          <a:xfrm>
            <a:off x="2923940" y="1092244"/>
            <a:ext cx="9615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rgbClr val="44546A"/>
                </a:solidFill>
              </a:rPr>
              <a:t>Step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1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6232D37-4ED0-422B-AA7D-8CF8E37A1DA8}"/>
              </a:ext>
            </a:extLst>
          </p:cNvPr>
          <p:cNvSpPr txBox="1"/>
          <p:nvPr/>
        </p:nvSpPr>
        <p:spPr>
          <a:xfrm>
            <a:off x="5985100" y="1062983"/>
            <a:ext cx="8319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ep 2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F530C24-203F-4A21-8241-A55B93473530}"/>
              </a:ext>
            </a:extLst>
          </p:cNvPr>
          <p:cNvSpPr txBox="1"/>
          <p:nvPr/>
        </p:nvSpPr>
        <p:spPr>
          <a:xfrm>
            <a:off x="8676144" y="1090547"/>
            <a:ext cx="9981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ep 3</a:t>
            </a:r>
          </a:p>
        </p:txBody>
      </p:sp>
      <p:grpSp>
        <p:nvGrpSpPr>
          <p:cNvPr id="40" name="POWER_USER_ID_ICONS_Rocket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4034FA2-4142-4C9E-85C2-5C15080E01DA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8941110" y="2391365"/>
            <a:ext cx="512267" cy="507645"/>
            <a:chOff x="2506" y="943"/>
            <a:chExt cx="2548" cy="2525"/>
          </a:xfrm>
          <a:solidFill>
            <a:srgbClr val="44546A"/>
          </a:solidFill>
        </p:grpSpPr>
        <p:sp>
          <p:nvSpPr>
            <p:cNvPr id="41" name="Freeform 619">
              <a:extLst>
                <a:ext uri="{FF2B5EF4-FFF2-40B4-BE49-F238E27FC236}">
                  <a16:creationId xmlns:a16="http://schemas.microsoft.com/office/drawing/2014/main" id="{4A230549-5B23-4F81-B46F-BF6E2DF05AFA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0" y="2410"/>
              <a:ext cx="1044" cy="1046"/>
            </a:xfrm>
            <a:custGeom>
              <a:avLst/>
              <a:gdLst>
                <a:gd name="T0" fmla="*/ 263 w 263"/>
                <a:gd name="T1" fmla="*/ 94 h 263"/>
                <a:gd name="T2" fmla="*/ 253 w 263"/>
                <a:gd name="T3" fmla="*/ 94 h 263"/>
                <a:gd name="T4" fmla="*/ 234 w 263"/>
                <a:gd name="T5" fmla="*/ 94 h 263"/>
                <a:gd name="T6" fmla="*/ 151 w 263"/>
                <a:gd name="T7" fmla="*/ 159 h 263"/>
                <a:gd name="T8" fmla="*/ 118 w 263"/>
                <a:gd name="T9" fmla="*/ 178 h 263"/>
                <a:gd name="T10" fmla="*/ 95 w 263"/>
                <a:gd name="T11" fmla="*/ 167 h 263"/>
                <a:gd name="T12" fmla="*/ 85 w 263"/>
                <a:gd name="T13" fmla="*/ 144 h 263"/>
                <a:gd name="T14" fmla="*/ 104 w 263"/>
                <a:gd name="T15" fmla="*/ 112 h 263"/>
                <a:gd name="T16" fmla="*/ 106 w 263"/>
                <a:gd name="T17" fmla="*/ 109 h 263"/>
                <a:gd name="T18" fmla="*/ 169 w 263"/>
                <a:gd name="T19" fmla="*/ 29 h 263"/>
                <a:gd name="T20" fmla="*/ 168 w 263"/>
                <a:gd name="T21" fmla="*/ 0 h 263"/>
                <a:gd name="T22" fmla="*/ 146 w 263"/>
                <a:gd name="T23" fmla="*/ 20 h 263"/>
                <a:gd name="T24" fmla="*/ 11 w 263"/>
                <a:gd name="T25" fmla="*/ 252 h 263"/>
                <a:gd name="T26" fmla="*/ 243 w 263"/>
                <a:gd name="T27" fmla="*/ 117 h 263"/>
                <a:gd name="T28" fmla="*/ 263 w 263"/>
                <a:gd name="T29" fmla="*/ 94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3" h="263">
                  <a:moveTo>
                    <a:pt x="263" y="94"/>
                  </a:moveTo>
                  <a:cubicBezTo>
                    <a:pt x="259" y="94"/>
                    <a:pt x="256" y="94"/>
                    <a:pt x="253" y="94"/>
                  </a:cubicBezTo>
                  <a:cubicBezTo>
                    <a:pt x="246" y="94"/>
                    <a:pt x="240" y="94"/>
                    <a:pt x="234" y="94"/>
                  </a:cubicBezTo>
                  <a:lnTo>
                    <a:pt x="151" y="159"/>
                  </a:lnTo>
                  <a:cubicBezTo>
                    <a:pt x="142" y="168"/>
                    <a:pt x="132" y="178"/>
                    <a:pt x="118" y="178"/>
                  </a:cubicBezTo>
                  <a:cubicBezTo>
                    <a:pt x="110" y="178"/>
                    <a:pt x="102" y="174"/>
                    <a:pt x="95" y="167"/>
                  </a:cubicBezTo>
                  <a:cubicBezTo>
                    <a:pt x="88" y="160"/>
                    <a:pt x="85" y="153"/>
                    <a:pt x="85" y="144"/>
                  </a:cubicBezTo>
                  <a:cubicBezTo>
                    <a:pt x="85" y="130"/>
                    <a:pt x="95" y="121"/>
                    <a:pt x="104" y="112"/>
                  </a:cubicBezTo>
                  <a:lnTo>
                    <a:pt x="106" y="109"/>
                  </a:lnTo>
                  <a:lnTo>
                    <a:pt x="169" y="29"/>
                  </a:lnTo>
                  <a:cubicBezTo>
                    <a:pt x="168" y="20"/>
                    <a:pt x="168" y="11"/>
                    <a:pt x="168" y="0"/>
                  </a:cubicBezTo>
                  <a:cubicBezTo>
                    <a:pt x="161" y="6"/>
                    <a:pt x="154" y="12"/>
                    <a:pt x="146" y="20"/>
                  </a:cubicBezTo>
                  <a:cubicBezTo>
                    <a:pt x="62" y="104"/>
                    <a:pt x="0" y="242"/>
                    <a:pt x="11" y="252"/>
                  </a:cubicBezTo>
                  <a:cubicBezTo>
                    <a:pt x="21" y="263"/>
                    <a:pt x="158" y="201"/>
                    <a:pt x="243" y="117"/>
                  </a:cubicBezTo>
                  <a:cubicBezTo>
                    <a:pt x="251" y="109"/>
                    <a:pt x="257" y="102"/>
                    <a:pt x="263" y="9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620">
              <a:extLst>
                <a:ext uri="{FF2B5EF4-FFF2-40B4-BE49-F238E27FC236}">
                  <a16:creationId xmlns:a16="http://schemas.microsoft.com/office/drawing/2014/main" id="{F2A0071F-BE17-4A22-ACE0-422D10F40F3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4" y="2040"/>
              <a:ext cx="941" cy="931"/>
            </a:xfrm>
            <a:custGeom>
              <a:avLst/>
              <a:gdLst>
                <a:gd name="T0" fmla="*/ 0 w 237"/>
                <a:gd name="T1" fmla="*/ 234 h 234"/>
                <a:gd name="T2" fmla="*/ 5 w 237"/>
                <a:gd name="T3" fmla="*/ 228 h 234"/>
                <a:gd name="T4" fmla="*/ 10 w 237"/>
                <a:gd name="T5" fmla="*/ 224 h 234"/>
                <a:gd name="T6" fmla="*/ 221 w 237"/>
                <a:gd name="T7" fmla="*/ 60 h 234"/>
                <a:gd name="T8" fmla="*/ 232 w 237"/>
                <a:gd name="T9" fmla="*/ 1 h 234"/>
                <a:gd name="T10" fmla="*/ 223 w 237"/>
                <a:gd name="T11" fmla="*/ 0 h 234"/>
                <a:gd name="T12" fmla="*/ 174 w 237"/>
                <a:gd name="T13" fmla="*/ 13 h 234"/>
                <a:gd name="T14" fmla="*/ 5 w 237"/>
                <a:gd name="T15" fmla="*/ 228 h 234"/>
                <a:gd name="T16" fmla="*/ 0 w 237"/>
                <a:gd name="T17" fmla="*/ 234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7" h="234">
                  <a:moveTo>
                    <a:pt x="0" y="234"/>
                  </a:moveTo>
                  <a:cubicBezTo>
                    <a:pt x="2" y="232"/>
                    <a:pt x="4" y="230"/>
                    <a:pt x="5" y="228"/>
                  </a:cubicBezTo>
                  <a:lnTo>
                    <a:pt x="10" y="224"/>
                  </a:lnTo>
                  <a:lnTo>
                    <a:pt x="221" y="60"/>
                  </a:lnTo>
                  <a:cubicBezTo>
                    <a:pt x="228" y="51"/>
                    <a:pt x="237" y="13"/>
                    <a:pt x="232" y="1"/>
                  </a:cubicBezTo>
                  <a:cubicBezTo>
                    <a:pt x="231" y="1"/>
                    <a:pt x="228" y="0"/>
                    <a:pt x="223" y="0"/>
                  </a:cubicBezTo>
                  <a:cubicBezTo>
                    <a:pt x="203" y="0"/>
                    <a:pt x="180" y="8"/>
                    <a:pt x="174" y="13"/>
                  </a:cubicBezTo>
                  <a:lnTo>
                    <a:pt x="5" y="228"/>
                  </a:lnTo>
                  <a:cubicBezTo>
                    <a:pt x="4" y="230"/>
                    <a:pt x="2" y="232"/>
                    <a:pt x="0" y="23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621">
              <a:extLst>
                <a:ext uri="{FF2B5EF4-FFF2-40B4-BE49-F238E27FC236}">
                  <a16:creationId xmlns:a16="http://schemas.microsoft.com/office/drawing/2014/main" id="{25486CE0-FDF7-4E06-9E23-43750C7BB7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9" y="2514"/>
              <a:ext cx="1100" cy="954"/>
            </a:xfrm>
            <a:custGeom>
              <a:avLst/>
              <a:gdLst>
                <a:gd name="T0" fmla="*/ 73 w 277"/>
                <a:gd name="T1" fmla="*/ 67 h 240"/>
                <a:gd name="T2" fmla="*/ 11 w 277"/>
                <a:gd name="T3" fmla="*/ 205 h 240"/>
                <a:gd name="T4" fmla="*/ 55 w 277"/>
                <a:gd name="T5" fmla="*/ 221 h 240"/>
                <a:gd name="T6" fmla="*/ 190 w 277"/>
                <a:gd name="T7" fmla="*/ 147 h 240"/>
                <a:gd name="T8" fmla="*/ 276 w 277"/>
                <a:gd name="T9" fmla="*/ 13 h 240"/>
                <a:gd name="T10" fmla="*/ 275 w 277"/>
                <a:gd name="T11" fmla="*/ 0 h 240"/>
                <a:gd name="T12" fmla="*/ 73 w 277"/>
                <a:gd name="T13" fmla="*/ 67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7" h="240">
                  <a:moveTo>
                    <a:pt x="73" y="67"/>
                  </a:moveTo>
                  <a:cubicBezTo>
                    <a:pt x="43" y="128"/>
                    <a:pt x="11" y="205"/>
                    <a:pt x="11" y="205"/>
                  </a:cubicBezTo>
                  <a:cubicBezTo>
                    <a:pt x="0" y="225"/>
                    <a:pt x="17" y="240"/>
                    <a:pt x="55" y="221"/>
                  </a:cubicBezTo>
                  <a:lnTo>
                    <a:pt x="190" y="147"/>
                  </a:lnTo>
                  <a:cubicBezTo>
                    <a:pt x="263" y="106"/>
                    <a:pt x="277" y="96"/>
                    <a:pt x="276" y="13"/>
                  </a:cubicBezTo>
                  <a:lnTo>
                    <a:pt x="275" y="0"/>
                  </a:lnTo>
                  <a:cubicBezTo>
                    <a:pt x="209" y="46"/>
                    <a:pt x="134" y="63"/>
                    <a:pt x="73" y="6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Freeform 622">
              <a:extLst>
                <a:ext uri="{FF2B5EF4-FFF2-40B4-BE49-F238E27FC236}">
                  <a16:creationId xmlns:a16="http://schemas.microsoft.com/office/drawing/2014/main" id="{B2DDD02A-E749-4D1B-8C58-E5BDACFCA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6" y="1511"/>
              <a:ext cx="937" cy="1102"/>
            </a:xfrm>
            <a:custGeom>
              <a:avLst/>
              <a:gdLst>
                <a:gd name="T0" fmla="*/ 35 w 236"/>
                <a:gd name="T1" fmla="*/ 266 h 277"/>
                <a:gd name="T2" fmla="*/ 170 w 236"/>
                <a:gd name="T3" fmla="*/ 206 h 277"/>
                <a:gd name="T4" fmla="*/ 236 w 236"/>
                <a:gd name="T5" fmla="*/ 2 h 277"/>
                <a:gd name="T6" fmla="*/ 227 w 236"/>
                <a:gd name="T7" fmla="*/ 1 h 277"/>
                <a:gd name="T8" fmla="*/ 94 w 236"/>
                <a:gd name="T9" fmla="*/ 87 h 277"/>
                <a:gd name="T10" fmla="*/ 20 w 236"/>
                <a:gd name="T11" fmla="*/ 223 h 277"/>
                <a:gd name="T12" fmla="*/ 35 w 236"/>
                <a:gd name="T13" fmla="*/ 266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6" h="277">
                  <a:moveTo>
                    <a:pt x="35" y="266"/>
                  </a:moveTo>
                  <a:cubicBezTo>
                    <a:pt x="35" y="266"/>
                    <a:pt x="109" y="235"/>
                    <a:pt x="170" y="206"/>
                  </a:cubicBezTo>
                  <a:cubicBezTo>
                    <a:pt x="174" y="147"/>
                    <a:pt x="189" y="70"/>
                    <a:pt x="236" y="2"/>
                  </a:cubicBezTo>
                  <a:lnTo>
                    <a:pt x="227" y="1"/>
                  </a:lnTo>
                  <a:cubicBezTo>
                    <a:pt x="145" y="0"/>
                    <a:pt x="134" y="14"/>
                    <a:pt x="94" y="87"/>
                  </a:cubicBezTo>
                  <a:lnTo>
                    <a:pt x="20" y="223"/>
                  </a:lnTo>
                  <a:cubicBezTo>
                    <a:pt x="0" y="260"/>
                    <a:pt x="15" y="277"/>
                    <a:pt x="35" y="26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Freeform 623">
              <a:extLst>
                <a:ext uri="{FF2B5EF4-FFF2-40B4-BE49-F238E27FC236}">
                  <a16:creationId xmlns:a16="http://schemas.microsoft.com/office/drawing/2014/main" id="{8AD6CCAA-5A41-4241-B61C-73DBB88E3A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16" y="943"/>
              <a:ext cx="1738" cy="1706"/>
            </a:xfrm>
            <a:custGeom>
              <a:avLst/>
              <a:gdLst>
                <a:gd name="T0" fmla="*/ 367 w 438"/>
                <a:gd name="T1" fmla="*/ 111 h 429"/>
                <a:gd name="T2" fmla="*/ 320 w 438"/>
                <a:gd name="T3" fmla="*/ 111 h 429"/>
                <a:gd name="T4" fmla="*/ 320 w 438"/>
                <a:gd name="T5" fmla="*/ 64 h 429"/>
                <a:gd name="T6" fmla="*/ 367 w 438"/>
                <a:gd name="T7" fmla="*/ 64 h 429"/>
                <a:gd name="T8" fmla="*/ 367 w 438"/>
                <a:gd name="T9" fmla="*/ 111 h 429"/>
                <a:gd name="T10" fmla="*/ 296 w 438"/>
                <a:gd name="T11" fmla="*/ 229 h 429"/>
                <a:gd name="T12" fmla="*/ 202 w 438"/>
                <a:gd name="T13" fmla="*/ 229 h 429"/>
                <a:gd name="T14" fmla="*/ 202 w 438"/>
                <a:gd name="T15" fmla="*/ 135 h 429"/>
                <a:gd name="T16" fmla="*/ 296 w 438"/>
                <a:gd name="T17" fmla="*/ 135 h 429"/>
                <a:gd name="T18" fmla="*/ 296 w 438"/>
                <a:gd name="T19" fmla="*/ 229 h 429"/>
                <a:gd name="T20" fmla="*/ 383 w 438"/>
                <a:gd name="T21" fmla="*/ 0 h 429"/>
                <a:gd name="T22" fmla="*/ 93 w 438"/>
                <a:gd name="T23" fmla="*/ 124 h 429"/>
                <a:gd name="T24" fmla="*/ 0 w 438"/>
                <a:gd name="T25" fmla="*/ 354 h 429"/>
                <a:gd name="T26" fmla="*/ 69 w 438"/>
                <a:gd name="T27" fmla="*/ 265 h 429"/>
                <a:gd name="T28" fmla="*/ 142 w 438"/>
                <a:gd name="T29" fmla="*/ 243 h 429"/>
                <a:gd name="T30" fmla="*/ 175 w 438"/>
                <a:gd name="T31" fmla="*/ 254 h 429"/>
                <a:gd name="T32" fmla="*/ 163 w 438"/>
                <a:gd name="T33" fmla="*/ 360 h 429"/>
                <a:gd name="T34" fmla="*/ 162 w 438"/>
                <a:gd name="T35" fmla="*/ 361 h 429"/>
                <a:gd name="T36" fmla="*/ 74 w 438"/>
                <a:gd name="T37" fmla="*/ 429 h 429"/>
                <a:gd name="T38" fmla="*/ 304 w 438"/>
                <a:gd name="T39" fmla="*/ 336 h 429"/>
                <a:gd name="T40" fmla="*/ 422 w 438"/>
                <a:gd name="T41" fmla="*/ 6 h 429"/>
                <a:gd name="T42" fmla="*/ 383 w 438"/>
                <a:gd name="T43" fmla="*/ 0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8" h="429">
                  <a:moveTo>
                    <a:pt x="367" y="111"/>
                  </a:moveTo>
                  <a:cubicBezTo>
                    <a:pt x="354" y="124"/>
                    <a:pt x="333" y="124"/>
                    <a:pt x="320" y="111"/>
                  </a:cubicBezTo>
                  <a:cubicBezTo>
                    <a:pt x="307" y="98"/>
                    <a:pt x="307" y="77"/>
                    <a:pt x="320" y="64"/>
                  </a:cubicBezTo>
                  <a:cubicBezTo>
                    <a:pt x="333" y="51"/>
                    <a:pt x="354" y="51"/>
                    <a:pt x="367" y="64"/>
                  </a:cubicBezTo>
                  <a:cubicBezTo>
                    <a:pt x="380" y="77"/>
                    <a:pt x="380" y="98"/>
                    <a:pt x="367" y="111"/>
                  </a:cubicBezTo>
                  <a:close/>
                  <a:moveTo>
                    <a:pt x="296" y="229"/>
                  </a:moveTo>
                  <a:cubicBezTo>
                    <a:pt x="270" y="255"/>
                    <a:pt x="228" y="255"/>
                    <a:pt x="202" y="229"/>
                  </a:cubicBezTo>
                  <a:cubicBezTo>
                    <a:pt x="176" y="203"/>
                    <a:pt x="176" y="161"/>
                    <a:pt x="202" y="135"/>
                  </a:cubicBezTo>
                  <a:cubicBezTo>
                    <a:pt x="228" y="109"/>
                    <a:pt x="270" y="109"/>
                    <a:pt x="296" y="135"/>
                  </a:cubicBezTo>
                  <a:cubicBezTo>
                    <a:pt x="322" y="161"/>
                    <a:pt x="322" y="203"/>
                    <a:pt x="296" y="229"/>
                  </a:cubicBezTo>
                  <a:close/>
                  <a:moveTo>
                    <a:pt x="383" y="0"/>
                  </a:moveTo>
                  <a:cubicBezTo>
                    <a:pt x="303" y="0"/>
                    <a:pt x="178" y="39"/>
                    <a:pt x="93" y="124"/>
                  </a:cubicBezTo>
                  <a:cubicBezTo>
                    <a:pt x="22" y="195"/>
                    <a:pt x="3" y="288"/>
                    <a:pt x="0" y="354"/>
                  </a:cubicBezTo>
                  <a:lnTo>
                    <a:pt x="69" y="265"/>
                  </a:lnTo>
                  <a:cubicBezTo>
                    <a:pt x="82" y="252"/>
                    <a:pt x="117" y="243"/>
                    <a:pt x="142" y="243"/>
                  </a:cubicBezTo>
                  <a:cubicBezTo>
                    <a:pt x="157" y="243"/>
                    <a:pt x="168" y="247"/>
                    <a:pt x="175" y="254"/>
                  </a:cubicBezTo>
                  <a:cubicBezTo>
                    <a:pt x="197" y="276"/>
                    <a:pt x="180" y="343"/>
                    <a:pt x="163" y="360"/>
                  </a:cubicBezTo>
                  <a:lnTo>
                    <a:pt x="162" y="361"/>
                  </a:lnTo>
                  <a:lnTo>
                    <a:pt x="74" y="429"/>
                  </a:lnTo>
                  <a:cubicBezTo>
                    <a:pt x="145" y="426"/>
                    <a:pt x="235" y="405"/>
                    <a:pt x="304" y="336"/>
                  </a:cubicBezTo>
                  <a:cubicBezTo>
                    <a:pt x="431" y="210"/>
                    <a:pt x="438" y="26"/>
                    <a:pt x="422" y="6"/>
                  </a:cubicBezTo>
                  <a:cubicBezTo>
                    <a:pt x="421" y="5"/>
                    <a:pt x="410" y="0"/>
                    <a:pt x="383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47" name="POWER_USER_ID_ICONS_Cu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2E0678DB-38EE-4D41-B7FC-18394EFFD735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9385165" y="4846666"/>
            <a:ext cx="689617" cy="744317"/>
            <a:chOff x="69" y="56"/>
            <a:chExt cx="353" cy="381"/>
          </a:xfrm>
          <a:solidFill>
            <a:schemeClr val="tx2"/>
          </a:solidFill>
        </p:grpSpPr>
        <p:sp>
          <p:nvSpPr>
            <p:cNvPr id="48" name="POWER_USER_ID_ICONS_Cup">
              <a:extLst>
                <a:ext uri="{FF2B5EF4-FFF2-40B4-BE49-F238E27FC236}">
                  <a16:creationId xmlns:a16="http://schemas.microsoft.com/office/drawing/2014/main" id="{B9707143-7BDA-4DF9-9DF2-87C2AAB1D60B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137" y="56"/>
              <a:ext cx="218" cy="381"/>
            </a:xfrm>
            <a:custGeom>
              <a:avLst/>
              <a:gdLst>
                <a:gd name="T0" fmla="*/ 480 w 515"/>
                <a:gd name="T1" fmla="*/ 407 h 900"/>
                <a:gd name="T2" fmla="*/ 515 w 515"/>
                <a:gd name="T3" fmla="*/ 13 h 900"/>
                <a:gd name="T4" fmla="*/ 511 w 515"/>
                <a:gd name="T5" fmla="*/ 3 h 900"/>
                <a:gd name="T6" fmla="*/ 502 w 515"/>
                <a:gd name="T7" fmla="*/ 0 h 900"/>
                <a:gd name="T8" fmla="*/ 13 w 515"/>
                <a:gd name="T9" fmla="*/ 0 h 900"/>
                <a:gd name="T10" fmla="*/ 4 w 515"/>
                <a:gd name="T11" fmla="*/ 3 h 900"/>
                <a:gd name="T12" fmla="*/ 0 w 515"/>
                <a:gd name="T13" fmla="*/ 13 h 900"/>
                <a:gd name="T14" fmla="*/ 35 w 515"/>
                <a:gd name="T15" fmla="*/ 407 h 900"/>
                <a:gd name="T16" fmla="*/ 220 w 515"/>
                <a:gd name="T17" fmla="*/ 623 h 900"/>
                <a:gd name="T18" fmla="*/ 235 w 515"/>
                <a:gd name="T19" fmla="*/ 613 h 900"/>
                <a:gd name="T20" fmla="*/ 225 w 515"/>
                <a:gd name="T21" fmla="*/ 598 h 900"/>
                <a:gd name="T22" fmla="*/ 60 w 515"/>
                <a:gd name="T23" fmla="*/ 405 h 900"/>
                <a:gd name="T24" fmla="*/ 26 w 515"/>
                <a:gd name="T25" fmla="*/ 25 h 900"/>
                <a:gd name="T26" fmla="*/ 489 w 515"/>
                <a:gd name="T27" fmla="*/ 25 h 900"/>
                <a:gd name="T28" fmla="*/ 455 w 515"/>
                <a:gd name="T29" fmla="*/ 405 h 900"/>
                <a:gd name="T30" fmla="*/ 290 w 515"/>
                <a:gd name="T31" fmla="*/ 598 h 900"/>
                <a:gd name="T32" fmla="*/ 287 w 515"/>
                <a:gd name="T33" fmla="*/ 600 h 900"/>
                <a:gd name="T34" fmla="*/ 286 w 515"/>
                <a:gd name="T35" fmla="*/ 600 h 900"/>
                <a:gd name="T36" fmla="*/ 282 w 515"/>
                <a:gd name="T37" fmla="*/ 602 h 900"/>
                <a:gd name="T38" fmla="*/ 281 w 515"/>
                <a:gd name="T39" fmla="*/ 603 h 900"/>
                <a:gd name="T40" fmla="*/ 279 w 515"/>
                <a:gd name="T41" fmla="*/ 606 h 900"/>
                <a:gd name="T42" fmla="*/ 279 w 515"/>
                <a:gd name="T43" fmla="*/ 607 h 900"/>
                <a:gd name="T44" fmla="*/ 279 w 515"/>
                <a:gd name="T45" fmla="*/ 610 h 900"/>
                <a:gd name="T46" fmla="*/ 279 w 515"/>
                <a:gd name="T47" fmla="*/ 611 h 900"/>
                <a:gd name="T48" fmla="*/ 279 w 515"/>
                <a:gd name="T49" fmla="*/ 691 h 900"/>
                <a:gd name="T50" fmla="*/ 421 w 515"/>
                <a:gd name="T51" fmla="*/ 833 h 900"/>
                <a:gd name="T52" fmla="*/ 422 w 515"/>
                <a:gd name="T53" fmla="*/ 833 h 900"/>
                <a:gd name="T54" fmla="*/ 449 w 515"/>
                <a:gd name="T55" fmla="*/ 860 h 900"/>
                <a:gd name="T56" fmla="*/ 449 w 515"/>
                <a:gd name="T57" fmla="*/ 875 h 900"/>
                <a:gd name="T58" fmla="*/ 65 w 515"/>
                <a:gd name="T59" fmla="*/ 875 h 900"/>
                <a:gd name="T60" fmla="*/ 65 w 515"/>
                <a:gd name="T61" fmla="*/ 860 h 900"/>
                <a:gd name="T62" fmla="*/ 91 w 515"/>
                <a:gd name="T63" fmla="*/ 833 h 900"/>
                <a:gd name="T64" fmla="*/ 93 w 515"/>
                <a:gd name="T65" fmla="*/ 833 h 900"/>
                <a:gd name="T66" fmla="*/ 221 w 515"/>
                <a:gd name="T67" fmla="*/ 753 h 900"/>
                <a:gd name="T68" fmla="*/ 215 w 515"/>
                <a:gd name="T69" fmla="*/ 737 h 900"/>
                <a:gd name="T70" fmla="*/ 199 w 515"/>
                <a:gd name="T71" fmla="*/ 743 h 900"/>
                <a:gd name="T72" fmla="*/ 93 w 515"/>
                <a:gd name="T73" fmla="*/ 810 h 900"/>
                <a:gd name="T74" fmla="*/ 91 w 515"/>
                <a:gd name="T75" fmla="*/ 810 h 900"/>
                <a:gd name="T76" fmla="*/ 40 w 515"/>
                <a:gd name="T77" fmla="*/ 861 h 900"/>
                <a:gd name="T78" fmla="*/ 40 w 515"/>
                <a:gd name="T79" fmla="*/ 887 h 900"/>
                <a:gd name="T80" fmla="*/ 53 w 515"/>
                <a:gd name="T81" fmla="*/ 900 h 900"/>
                <a:gd name="T82" fmla="*/ 461 w 515"/>
                <a:gd name="T83" fmla="*/ 900 h 900"/>
                <a:gd name="T84" fmla="*/ 474 w 515"/>
                <a:gd name="T85" fmla="*/ 887 h 900"/>
                <a:gd name="T86" fmla="*/ 474 w 515"/>
                <a:gd name="T87" fmla="*/ 860 h 900"/>
                <a:gd name="T88" fmla="*/ 423 w 515"/>
                <a:gd name="T89" fmla="*/ 808 h 900"/>
                <a:gd name="T90" fmla="*/ 421 w 515"/>
                <a:gd name="T91" fmla="*/ 808 h 900"/>
                <a:gd name="T92" fmla="*/ 304 w 515"/>
                <a:gd name="T93" fmla="*/ 691 h 900"/>
                <a:gd name="T94" fmla="*/ 304 w 515"/>
                <a:gd name="T95" fmla="*/ 621 h 900"/>
                <a:gd name="T96" fmla="*/ 480 w 515"/>
                <a:gd name="T97" fmla="*/ 407 h 9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15" h="900">
                  <a:moveTo>
                    <a:pt x="480" y="407"/>
                  </a:moveTo>
                  <a:lnTo>
                    <a:pt x="515" y="13"/>
                  </a:lnTo>
                  <a:cubicBezTo>
                    <a:pt x="515" y="10"/>
                    <a:pt x="514" y="6"/>
                    <a:pt x="511" y="3"/>
                  </a:cubicBezTo>
                  <a:cubicBezTo>
                    <a:pt x="509" y="1"/>
                    <a:pt x="506" y="0"/>
                    <a:pt x="502" y="0"/>
                  </a:cubicBezTo>
                  <a:lnTo>
                    <a:pt x="13" y="0"/>
                  </a:lnTo>
                  <a:cubicBezTo>
                    <a:pt x="9" y="0"/>
                    <a:pt x="6" y="1"/>
                    <a:pt x="4" y="3"/>
                  </a:cubicBezTo>
                  <a:cubicBezTo>
                    <a:pt x="1" y="6"/>
                    <a:pt x="0" y="10"/>
                    <a:pt x="0" y="13"/>
                  </a:cubicBezTo>
                  <a:lnTo>
                    <a:pt x="35" y="407"/>
                  </a:lnTo>
                  <a:cubicBezTo>
                    <a:pt x="45" y="517"/>
                    <a:pt x="121" y="605"/>
                    <a:pt x="220" y="623"/>
                  </a:cubicBezTo>
                  <a:cubicBezTo>
                    <a:pt x="226" y="625"/>
                    <a:pt x="234" y="620"/>
                    <a:pt x="235" y="613"/>
                  </a:cubicBezTo>
                  <a:cubicBezTo>
                    <a:pt x="236" y="607"/>
                    <a:pt x="231" y="600"/>
                    <a:pt x="225" y="598"/>
                  </a:cubicBezTo>
                  <a:cubicBezTo>
                    <a:pt x="136" y="582"/>
                    <a:pt x="69" y="503"/>
                    <a:pt x="60" y="405"/>
                  </a:cubicBezTo>
                  <a:lnTo>
                    <a:pt x="26" y="25"/>
                  </a:lnTo>
                  <a:lnTo>
                    <a:pt x="489" y="25"/>
                  </a:lnTo>
                  <a:lnTo>
                    <a:pt x="455" y="405"/>
                  </a:lnTo>
                  <a:cubicBezTo>
                    <a:pt x="446" y="503"/>
                    <a:pt x="377" y="582"/>
                    <a:pt x="290" y="598"/>
                  </a:cubicBezTo>
                  <a:cubicBezTo>
                    <a:pt x="289" y="598"/>
                    <a:pt x="289" y="598"/>
                    <a:pt x="287" y="600"/>
                  </a:cubicBezTo>
                  <a:lnTo>
                    <a:pt x="286" y="600"/>
                  </a:lnTo>
                  <a:cubicBezTo>
                    <a:pt x="285" y="600"/>
                    <a:pt x="284" y="601"/>
                    <a:pt x="282" y="602"/>
                  </a:cubicBezTo>
                  <a:lnTo>
                    <a:pt x="281" y="603"/>
                  </a:lnTo>
                  <a:lnTo>
                    <a:pt x="279" y="606"/>
                  </a:lnTo>
                  <a:lnTo>
                    <a:pt x="279" y="607"/>
                  </a:lnTo>
                  <a:lnTo>
                    <a:pt x="279" y="610"/>
                  </a:lnTo>
                  <a:lnTo>
                    <a:pt x="279" y="611"/>
                  </a:lnTo>
                  <a:lnTo>
                    <a:pt x="279" y="691"/>
                  </a:lnTo>
                  <a:cubicBezTo>
                    <a:pt x="279" y="770"/>
                    <a:pt x="342" y="833"/>
                    <a:pt x="421" y="833"/>
                  </a:cubicBezTo>
                  <a:lnTo>
                    <a:pt x="422" y="833"/>
                  </a:lnTo>
                  <a:cubicBezTo>
                    <a:pt x="437" y="833"/>
                    <a:pt x="449" y="845"/>
                    <a:pt x="449" y="860"/>
                  </a:cubicBezTo>
                  <a:lnTo>
                    <a:pt x="449" y="875"/>
                  </a:lnTo>
                  <a:lnTo>
                    <a:pt x="65" y="875"/>
                  </a:lnTo>
                  <a:lnTo>
                    <a:pt x="65" y="860"/>
                  </a:lnTo>
                  <a:cubicBezTo>
                    <a:pt x="65" y="844"/>
                    <a:pt x="76" y="833"/>
                    <a:pt x="91" y="833"/>
                  </a:cubicBezTo>
                  <a:lnTo>
                    <a:pt x="93" y="833"/>
                  </a:lnTo>
                  <a:cubicBezTo>
                    <a:pt x="148" y="833"/>
                    <a:pt x="196" y="802"/>
                    <a:pt x="221" y="753"/>
                  </a:cubicBezTo>
                  <a:cubicBezTo>
                    <a:pt x="224" y="747"/>
                    <a:pt x="221" y="740"/>
                    <a:pt x="215" y="737"/>
                  </a:cubicBezTo>
                  <a:cubicBezTo>
                    <a:pt x="209" y="735"/>
                    <a:pt x="201" y="737"/>
                    <a:pt x="199" y="743"/>
                  </a:cubicBezTo>
                  <a:cubicBezTo>
                    <a:pt x="179" y="785"/>
                    <a:pt x="139" y="810"/>
                    <a:pt x="93" y="810"/>
                  </a:cubicBezTo>
                  <a:lnTo>
                    <a:pt x="91" y="810"/>
                  </a:lnTo>
                  <a:cubicBezTo>
                    <a:pt x="63" y="810"/>
                    <a:pt x="40" y="832"/>
                    <a:pt x="40" y="861"/>
                  </a:cubicBezTo>
                  <a:lnTo>
                    <a:pt x="40" y="887"/>
                  </a:lnTo>
                  <a:cubicBezTo>
                    <a:pt x="40" y="894"/>
                    <a:pt x="45" y="900"/>
                    <a:pt x="53" y="900"/>
                  </a:cubicBezTo>
                  <a:lnTo>
                    <a:pt x="461" y="900"/>
                  </a:lnTo>
                  <a:cubicBezTo>
                    <a:pt x="469" y="900"/>
                    <a:pt x="474" y="894"/>
                    <a:pt x="474" y="887"/>
                  </a:cubicBezTo>
                  <a:lnTo>
                    <a:pt x="474" y="860"/>
                  </a:lnTo>
                  <a:cubicBezTo>
                    <a:pt x="474" y="831"/>
                    <a:pt x="451" y="808"/>
                    <a:pt x="423" y="808"/>
                  </a:cubicBezTo>
                  <a:lnTo>
                    <a:pt x="421" y="808"/>
                  </a:lnTo>
                  <a:cubicBezTo>
                    <a:pt x="356" y="808"/>
                    <a:pt x="304" y="756"/>
                    <a:pt x="304" y="691"/>
                  </a:cubicBezTo>
                  <a:lnTo>
                    <a:pt x="304" y="621"/>
                  </a:lnTo>
                  <a:cubicBezTo>
                    <a:pt x="399" y="598"/>
                    <a:pt x="470" y="512"/>
                    <a:pt x="480" y="40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POWER_USER_ID_ICONS_Cup">
              <a:extLst>
                <a:ext uri="{FF2B5EF4-FFF2-40B4-BE49-F238E27FC236}">
                  <a16:creationId xmlns:a16="http://schemas.microsoft.com/office/drawing/2014/main" id="{4036F65D-333E-4E7B-A8F8-B56C61F43401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251" y="149"/>
              <a:ext cx="74" cy="149"/>
            </a:xfrm>
            <a:custGeom>
              <a:avLst/>
              <a:gdLst>
                <a:gd name="T0" fmla="*/ 13 w 174"/>
                <a:gd name="T1" fmla="*/ 351 h 351"/>
                <a:gd name="T2" fmla="*/ 15 w 174"/>
                <a:gd name="T3" fmla="*/ 351 h 351"/>
                <a:gd name="T4" fmla="*/ 159 w 174"/>
                <a:gd name="T5" fmla="*/ 181 h 351"/>
                <a:gd name="T6" fmla="*/ 174 w 174"/>
                <a:gd name="T7" fmla="*/ 13 h 351"/>
                <a:gd name="T8" fmla="*/ 163 w 174"/>
                <a:gd name="T9" fmla="*/ 0 h 351"/>
                <a:gd name="T10" fmla="*/ 149 w 174"/>
                <a:gd name="T11" fmla="*/ 11 h 351"/>
                <a:gd name="T12" fmla="*/ 134 w 174"/>
                <a:gd name="T13" fmla="*/ 179 h 351"/>
                <a:gd name="T14" fmla="*/ 11 w 174"/>
                <a:gd name="T15" fmla="*/ 326 h 351"/>
                <a:gd name="T16" fmla="*/ 1 w 174"/>
                <a:gd name="T17" fmla="*/ 341 h 351"/>
                <a:gd name="T18" fmla="*/ 13 w 174"/>
                <a:gd name="T19" fmla="*/ 351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4" h="351">
                  <a:moveTo>
                    <a:pt x="13" y="351"/>
                  </a:moveTo>
                  <a:lnTo>
                    <a:pt x="15" y="351"/>
                  </a:lnTo>
                  <a:cubicBezTo>
                    <a:pt x="91" y="337"/>
                    <a:pt x="151" y="269"/>
                    <a:pt x="159" y="181"/>
                  </a:cubicBezTo>
                  <a:lnTo>
                    <a:pt x="174" y="13"/>
                  </a:lnTo>
                  <a:cubicBezTo>
                    <a:pt x="174" y="7"/>
                    <a:pt x="169" y="1"/>
                    <a:pt x="163" y="0"/>
                  </a:cubicBezTo>
                  <a:cubicBezTo>
                    <a:pt x="155" y="0"/>
                    <a:pt x="150" y="5"/>
                    <a:pt x="149" y="11"/>
                  </a:cubicBezTo>
                  <a:lnTo>
                    <a:pt x="134" y="179"/>
                  </a:lnTo>
                  <a:cubicBezTo>
                    <a:pt x="128" y="254"/>
                    <a:pt x="76" y="315"/>
                    <a:pt x="11" y="326"/>
                  </a:cubicBezTo>
                  <a:cubicBezTo>
                    <a:pt x="5" y="327"/>
                    <a:pt x="0" y="334"/>
                    <a:pt x="1" y="341"/>
                  </a:cubicBezTo>
                  <a:cubicBezTo>
                    <a:pt x="1" y="346"/>
                    <a:pt x="6" y="351"/>
                    <a:pt x="13" y="35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POWER_USER_ID_ICONS_Cup">
              <a:extLst>
                <a:ext uri="{FF2B5EF4-FFF2-40B4-BE49-F238E27FC236}">
                  <a16:creationId xmlns:a16="http://schemas.microsoft.com/office/drawing/2014/main" id="{09B8013D-F44B-460E-A558-FA3B3722585A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164" y="78"/>
              <a:ext cx="106" cy="110"/>
            </a:xfrm>
            <a:custGeom>
              <a:avLst/>
              <a:gdLst>
                <a:gd name="T0" fmla="*/ 250 w 250"/>
                <a:gd name="T1" fmla="*/ 13 h 261"/>
                <a:gd name="T2" fmla="*/ 237 w 250"/>
                <a:gd name="T3" fmla="*/ 0 h 261"/>
                <a:gd name="T4" fmla="*/ 12 w 250"/>
                <a:gd name="T5" fmla="*/ 0 h 261"/>
                <a:gd name="T6" fmla="*/ 4 w 250"/>
                <a:gd name="T7" fmla="*/ 4 h 261"/>
                <a:gd name="T8" fmla="*/ 0 w 250"/>
                <a:gd name="T9" fmla="*/ 14 h 261"/>
                <a:gd name="T10" fmla="*/ 21 w 250"/>
                <a:gd name="T11" fmla="*/ 250 h 261"/>
                <a:gd name="T12" fmla="*/ 34 w 250"/>
                <a:gd name="T13" fmla="*/ 261 h 261"/>
                <a:gd name="T14" fmla="*/ 35 w 250"/>
                <a:gd name="T15" fmla="*/ 261 h 261"/>
                <a:gd name="T16" fmla="*/ 46 w 250"/>
                <a:gd name="T17" fmla="*/ 248 h 261"/>
                <a:gd name="T18" fmla="*/ 26 w 250"/>
                <a:gd name="T19" fmla="*/ 25 h 261"/>
                <a:gd name="T20" fmla="*/ 237 w 250"/>
                <a:gd name="T21" fmla="*/ 25 h 261"/>
                <a:gd name="T22" fmla="*/ 250 w 250"/>
                <a:gd name="T23" fmla="*/ 13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0" h="261">
                  <a:moveTo>
                    <a:pt x="250" y="13"/>
                  </a:moveTo>
                  <a:cubicBezTo>
                    <a:pt x="250" y="5"/>
                    <a:pt x="245" y="0"/>
                    <a:pt x="237" y="0"/>
                  </a:cubicBezTo>
                  <a:lnTo>
                    <a:pt x="12" y="0"/>
                  </a:lnTo>
                  <a:cubicBezTo>
                    <a:pt x="9" y="0"/>
                    <a:pt x="6" y="1"/>
                    <a:pt x="4" y="4"/>
                  </a:cubicBezTo>
                  <a:cubicBezTo>
                    <a:pt x="1" y="6"/>
                    <a:pt x="0" y="10"/>
                    <a:pt x="0" y="14"/>
                  </a:cubicBezTo>
                  <a:lnTo>
                    <a:pt x="21" y="250"/>
                  </a:lnTo>
                  <a:cubicBezTo>
                    <a:pt x="21" y="256"/>
                    <a:pt x="27" y="261"/>
                    <a:pt x="34" y="261"/>
                  </a:cubicBezTo>
                  <a:lnTo>
                    <a:pt x="35" y="261"/>
                  </a:lnTo>
                  <a:cubicBezTo>
                    <a:pt x="42" y="261"/>
                    <a:pt x="47" y="255"/>
                    <a:pt x="46" y="248"/>
                  </a:cubicBezTo>
                  <a:lnTo>
                    <a:pt x="26" y="25"/>
                  </a:lnTo>
                  <a:lnTo>
                    <a:pt x="237" y="25"/>
                  </a:lnTo>
                  <a:cubicBezTo>
                    <a:pt x="244" y="25"/>
                    <a:pt x="250" y="20"/>
                    <a:pt x="250" y="1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1" name="POWER_USER_ID_ICONS_Cup">
              <a:extLst>
                <a:ext uri="{FF2B5EF4-FFF2-40B4-BE49-F238E27FC236}">
                  <a16:creationId xmlns:a16="http://schemas.microsoft.com/office/drawing/2014/main" id="{135BFF83-DB63-4FF3-81AD-170BC8714310}"/>
                </a:ext>
              </a:extLst>
            </p:cNvPr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347" y="96"/>
              <a:ext cx="75" cy="139"/>
            </a:xfrm>
            <a:custGeom>
              <a:avLst/>
              <a:gdLst>
                <a:gd name="T0" fmla="*/ 174 w 178"/>
                <a:gd name="T1" fmla="*/ 4 h 329"/>
                <a:gd name="T2" fmla="*/ 165 w 178"/>
                <a:gd name="T3" fmla="*/ 0 h 329"/>
                <a:gd name="T4" fmla="*/ 42 w 178"/>
                <a:gd name="T5" fmla="*/ 0 h 329"/>
                <a:gd name="T6" fmla="*/ 29 w 178"/>
                <a:gd name="T7" fmla="*/ 13 h 329"/>
                <a:gd name="T8" fmla="*/ 42 w 178"/>
                <a:gd name="T9" fmla="*/ 25 h 329"/>
                <a:gd name="T10" fmla="*/ 152 w 178"/>
                <a:gd name="T11" fmla="*/ 25 h 329"/>
                <a:gd name="T12" fmla="*/ 10 w 178"/>
                <a:gd name="T13" fmla="*/ 304 h 329"/>
                <a:gd name="T14" fmla="*/ 3 w 178"/>
                <a:gd name="T15" fmla="*/ 321 h 329"/>
                <a:gd name="T16" fmla="*/ 14 w 178"/>
                <a:gd name="T17" fmla="*/ 329 h 329"/>
                <a:gd name="T18" fmla="*/ 18 w 178"/>
                <a:gd name="T19" fmla="*/ 328 h 329"/>
                <a:gd name="T20" fmla="*/ 177 w 178"/>
                <a:gd name="T21" fmla="*/ 13 h 329"/>
                <a:gd name="T22" fmla="*/ 174 w 178"/>
                <a:gd name="T23" fmla="*/ 4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8" h="329">
                  <a:moveTo>
                    <a:pt x="174" y="4"/>
                  </a:moveTo>
                  <a:cubicBezTo>
                    <a:pt x="172" y="2"/>
                    <a:pt x="168" y="0"/>
                    <a:pt x="165" y="0"/>
                  </a:cubicBezTo>
                  <a:lnTo>
                    <a:pt x="42" y="0"/>
                  </a:lnTo>
                  <a:cubicBezTo>
                    <a:pt x="34" y="0"/>
                    <a:pt x="29" y="5"/>
                    <a:pt x="29" y="13"/>
                  </a:cubicBezTo>
                  <a:cubicBezTo>
                    <a:pt x="29" y="21"/>
                    <a:pt x="34" y="25"/>
                    <a:pt x="42" y="25"/>
                  </a:cubicBezTo>
                  <a:lnTo>
                    <a:pt x="152" y="25"/>
                  </a:lnTo>
                  <a:cubicBezTo>
                    <a:pt x="147" y="77"/>
                    <a:pt x="120" y="267"/>
                    <a:pt x="10" y="304"/>
                  </a:cubicBezTo>
                  <a:cubicBezTo>
                    <a:pt x="4" y="307"/>
                    <a:pt x="0" y="314"/>
                    <a:pt x="3" y="321"/>
                  </a:cubicBezTo>
                  <a:cubicBezTo>
                    <a:pt x="4" y="325"/>
                    <a:pt x="9" y="329"/>
                    <a:pt x="14" y="329"/>
                  </a:cubicBezTo>
                  <a:cubicBezTo>
                    <a:pt x="15" y="329"/>
                    <a:pt x="17" y="329"/>
                    <a:pt x="18" y="328"/>
                  </a:cubicBezTo>
                  <a:cubicBezTo>
                    <a:pt x="162" y="278"/>
                    <a:pt x="177" y="24"/>
                    <a:pt x="177" y="13"/>
                  </a:cubicBezTo>
                  <a:cubicBezTo>
                    <a:pt x="178" y="9"/>
                    <a:pt x="177" y="7"/>
                    <a:pt x="174" y="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POWER_USER_ID_ICONS_Cup">
              <a:extLst>
                <a:ext uri="{FF2B5EF4-FFF2-40B4-BE49-F238E27FC236}">
                  <a16:creationId xmlns:a16="http://schemas.microsoft.com/office/drawing/2014/main" id="{7904F7F5-47FB-4188-9609-6A204AB087ED}"/>
                </a:ext>
              </a:extLst>
            </p:cNvPr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69" y="96"/>
              <a:ext cx="76" cy="139"/>
            </a:xfrm>
            <a:custGeom>
              <a:avLst/>
              <a:gdLst>
                <a:gd name="T0" fmla="*/ 168 w 178"/>
                <a:gd name="T1" fmla="*/ 304 h 329"/>
                <a:gd name="T2" fmla="*/ 26 w 178"/>
                <a:gd name="T3" fmla="*/ 25 h 329"/>
                <a:gd name="T4" fmla="*/ 136 w 178"/>
                <a:gd name="T5" fmla="*/ 25 h 329"/>
                <a:gd name="T6" fmla="*/ 149 w 178"/>
                <a:gd name="T7" fmla="*/ 13 h 329"/>
                <a:gd name="T8" fmla="*/ 136 w 178"/>
                <a:gd name="T9" fmla="*/ 0 h 329"/>
                <a:gd name="T10" fmla="*/ 13 w 178"/>
                <a:gd name="T11" fmla="*/ 0 h 329"/>
                <a:gd name="T12" fmla="*/ 4 w 178"/>
                <a:gd name="T13" fmla="*/ 4 h 329"/>
                <a:gd name="T14" fmla="*/ 0 w 178"/>
                <a:gd name="T15" fmla="*/ 13 h 329"/>
                <a:gd name="T16" fmla="*/ 159 w 178"/>
                <a:gd name="T17" fmla="*/ 328 h 329"/>
                <a:gd name="T18" fmla="*/ 163 w 178"/>
                <a:gd name="T19" fmla="*/ 329 h 329"/>
                <a:gd name="T20" fmla="*/ 174 w 178"/>
                <a:gd name="T21" fmla="*/ 321 h 329"/>
                <a:gd name="T22" fmla="*/ 168 w 178"/>
                <a:gd name="T23" fmla="*/ 304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8" h="329">
                  <a:moveTo>
                    <a:pt x="168" y="304"/>
                  </a:moveTo>
                  <a:cubicBezTo>
                    <a:pt x="58" y="265"/>
                    <a:pt x="31" y="77"/>
                    <a:pt x="26" y="25"/>
                  </a:cubicBezTo>
                  <a:lnTo>
                    <a:pt x="136" y="25"/>
                  </a:lnTo>
                  <a:cubicBezTo>
                    <a:pt x="144" y="25"/>
                    <a:pt x="149" y="21"/>
                    <a:pt x="149" y="13"/>
                  </a:cubicBezTo>
                  <a:cubicBezTo>
                    <a:pt x="149" y="5"/>
                    <a:pt x="144" y="0"/>
                    <a:pt x="136" y="0"/>
                  </a:cubicBezTo>
                  <a:lnTo>
                    <a:pt x="13" y="0"/>
                  </a:lnTo>
                  <a:cubicBezTo>
                    <a:pt x="9" y="0"/>
                    <a:pt x="6" y="2"/>
                    <a:pt x="4" y="4"/>
                  </a:cubicBezTo>
                  <a:cubicBezTo>
                    <a:pt x="1" y="7"/>
                    <a:pt x="0" y="10"/>
                    <a:pt x="0" y="13"/>
                  </a:cubicBezTo>
                  <a:cubicBezTo>
                    <a:pt x="0" y="24"/>
                    <a:pt x="16" y="278"/>
                    <a:pt x="159" y="328"/>
                  </a:cubicBezTo>
                  <a:cubicBezTo>
                    <a:pt x="160" y="328"/>
                    <a:pt x="161" y="329"/>
                    <a:pt x="163" y="329"/>
                  </a:cubicBezTo>
                  <a:cubicBezTo>
                    <a:pt x="167" y="329"/>
                    <a:pt x="173" y="326"/>
                    <a:pt x="174" y="321"/>
                  </a:cubicBezTo>
                  <a:cubicBezTo>
                    <a:pt x="178" y="313"/>
                    <a:pt x="174" y="307"/>
                    <a:pt x="168" y="30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23B05E88-D664-4E7B-884E-1C2F3CE70765}"/>
              </a:ext>
            </a:extLst>
          </p:cNvPr>
          <p:cNvGrpSpPr>
            <a:grpSpLocks noChangeAspect="1"/>
          </p:cNvGrpSpPr>
          <p:nvPr/>
        </p:nvGrpSpPr>
        <p:grpSpPr>
          <a:xfrm rot="10800000">
            <a:off x="2746791" y="3429001"/>
            <a:ext cx="1812254" cy="1828285"/>
            <a:chOff x="9268877" y="1596791"/>
            <a:chExt cx="1005840" cy="1014737"/>
          </a:xfrm>
        </p:grpSpPr>
        <p:sp>
          <p:nvSpPr>
            <p:cNvPr id="69" name="Arc 68">
              <a:extLst>
                <a:ext uri="{FF2B5EF4-FFF2-40B4-BE49-F238E27FC236}">
                  <a16:creationId xmlns:a16="http://schemas.microsoft.com/office/drawing/2014/main" id="{B59301B7-06DF-4162-AFD2-EBC3A46CC77B}"/>
                </a:ext>
              </a:extLst>
            </p:cNvPr>
            <p:cNvSpPr>
              <a:spLocks noChangeAspect="1"/>
            </p:cNvSpPr>
            <p:nvPr/>
          </p:nvSpPr>
          <p:spPr>
            <a:xfrm rot="5400000">
              <a:off x="9268877" y="1605688"/>
              <a:ext cx="1005840" cy="1005840"/>
            </a:xfrm>
            <a:prstGeom prst="arc">
              <a:avLst>
                <a:gd name="adj1" fmla="val 16200000"/>
                <a:gd name="adj2" fmla="val 66898"/>
              </a:avLst>
            </a:prstGeom>
            <a:ln w="152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Arc 69">
              <a:extLst>
                <a:ext uri="{FF2B5EF4-FFF2-40B4-BE49-F238E27FC236}">
                  <a16:creationId xmlns:a16="http://schemas.microsoft.com/office/drawing/2014/main" id="{48293533-6762-4F9F-BFC0-68675976451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268877" y="1596791"/>
              <a:ext cx="1005840" cy="1005840"/>
            </a:xfrm>
            <a:prstGeom prst="arc">
              <a:avLst>
                <a:gd name="adj1" fmla="val 16200000"/>
                <a:gd name="adj2" fmla="val 66898"/>
              </a:avLst>
            </a:prstGeom>
            <a:ln w="152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71" name="Oval 70">
            <a:extLst>
              <a:ext uri="{FF2B5EF4-FFF2-40B4-BE49-F238E27FC236}">
                <a16:creationId xmlns:a16="http://schemas.microsoft.com/office/drawing/2014/main" id="{3C483DF9-6DCD-4BD9-B773-CF5168C0E822}"/>
              </a:ext>
            </a:extLst>
          </p:cNvPr>
          <p:cNvSpPr>
            <a:spLocks noChangeAspect="1"/>
          </p:cNvSpPr>
          <p:nvPr/>
        </p:nvSpPr>
        <p:spPr>
          <a:xfrm>
            <a:off x="3390581" y="3340993"/>
            <a:ext cx="202389" cy="202389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02109C81-B72A-4C56-B64D-BEB42BAF0408}"/>
              </a:ext>
            </a:extLst>
          </p:cNvPr>
          <p:cNvSpPr>
            <a:spLocks noChangeAspect="1"/>
          </p:cNvSpPr>
          <p:nvPr/>
        </p:nvSpPr>
        <p:spPr>
          <a:xfrm>
            <a:off x="6303891" y="3322058"/>
            <a:ext cx="202389" cy="202389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E26B42F5-023A-4F3E-9A6E-32D2762E5BF3}"/>
              </a:ext>
            </a:extLst>
          </p:cNvPr>
          <p:cNvSpPr>
            <a:spLocks noChangeAspect="1"/>
          </p:cNvSpPr>
          <p:nvPr/>
        </p:nvSpPr>
        <p:spPr>
          <a:xfrm>
            <a:off x="9102482" y="3340994"/>
            <a:ext cx="202389" cy="202389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8FC303A2-FF10-4875-901C-2CD9F3849B6C}"/>
              </a:ext>
            </a:extLst>
          </p:cNvPr>
          <p:cNvSpPr txBox="1"/>
          <p:nvPr/>
        </p:nvSpPr>
        <p:spPr>
          <a:xfrm>
            <a:off x="3046289" y="2904191"/>
            <a:ext cx="8892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ep 6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5DEFBABF-FBB9-450C-827A-DD89D84981FA}"/>
              </a:ext>
            </a:extLst>
          </p:cNvPr>
          <p:cNvSpPr txBox="1"/>
          <p:nvPr/>
        </p:nvSpPr>
        <p:spPr>
          <a:xfrm>
            <a:off x="5825577" y="2917625"/>
            <a:ext cx="1142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ep 5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6DA1712F-75EA-43B5-9487-49792863CE0E}"/>
              </a:ext>
            </a:extLst>
          </p:cNvPr>
          <p:cNvSpPr txBox="1"/>
          <p:nvPr/>
        </p:nvSpPr>
        <p:spPr>
          <a:xfrm>
            <a:off x="8696234" y="2919850"/>
            <a:ext cx="946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ep 4</a:t>
            </a: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F8AD230F-1627-4E45-8E2D-964CCB807591}"/>
              </a:ext>
            </a:extLst>
          </p:cNvPr>
          <p:cNvSpPr>
            <a:spLocks noChangeAspect="1"/>
          </p:cNvSpPr>
          <p:nvPr/>
        </p:nvSpPr>
        <p:spPr>
          <a:xfrm>
            <a:off x="3391567" y="5140061"/>
            <a:ext cx="202389" cy="202389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DE7AF0A4-1C24-4585-9AAF-2947FF490C37}"/>
              </a:ext>
            </a:extLst>
          </p:cNvPr>
          <p:cNvSpPr>
            <a:spLocks noChangeAspect="1"/>
          </p:cNvSpPr>
          <p:nvPr/>
        </p:nvSpPr>
        <p:spPr>
          <a:xfrm>
            <a:off x="6299860" y="5156090"/>
            <a:ext cx="202389" cy="202389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B0AD76A3-B2F0-4F8D-9777-04575CFD6D16}"/>
              </a:ext>
            </a:extLst>
          </p:cNvPr>
          <p:cNvSpPr txBox="1"/>
          <p:nvPr/>
        </p:nvSpPr>
        <p:spPr>
          <a:xfrm>
            <a:off x="2991078" y="4777285"/>
            <a:ext cx="10357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ep 7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01FAE1A7-8D5D-458F-BA1D-550D79C17BF7}"/>
              </a:ext>
            </a:extLst>
          </p:cNvPr>
          <p:cNvSpPr txBox="1"/>
          <p:nvPr/>
        </p:nvSpPr>
        <p:spPr>
          <a:xfrm>
            <a:off x="5854138" y="4777285"/>
            <a:ext cx="10938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ep 8</a:t>
            </a:r>
          </a:p>
        </p:txBody>
      </p:sp>
      <p:sp>
        <p:nvSpPr>
          <p:cNvPr id="87" name="POWER_USER_ID_ICONS_Stopwatch5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BFA5A3A2-3FA6-4688-98C8-10026088345F}"/>
              </a:ext>
            </a:extLst>
          </p:cNvPr>
          <p:cNvSpPr>
            <a:spLocks noChangeAspect="1" noEditPoints="1"/>
          </p:cNvSpPr>
          <p:nvPr>
            <p:custDataLst>
              <p:tags r:id="rId4"/>
            </p:custDataLst>
          </p:nvPr>
        </p:nvSpPr>
        <p:spPr bwMode="auto">
          <a:xfrm>
            <a:off x="3171578" y="2391589"/>
            <a:ext cx="728649" cy="540455"/>
          </a:xfrm>
          <a:custGeom>
            <a:avLst/>
            <a:gdLst>
              <a:gd name="T0" fmla="*/ 652 w 982"/>
              <a:gd name="T1" fmla="*/ 23 h 728"/>
              <a:gd name="T2" fmla="*/ 543 w 982"/>
              <a:gd name="T3" fmla="*/ 59 h 728"/>
              <a:gd name="T4" fmla="*/ 386 w 982"/>
              <a:gd name="T5" fmla="*/ 220 h 728"/>
              <a:gd name="T6" fmla="*/ 173 w 982"/>
              <a:gd name="T7" fmla="*/ 285 h 728"/>
              <a:gd name="T8" fmla="*/ 0 w 982"/>
              <a:gd name="T9" fmla="*/ 610 h 728"/>
              <a:gd name="T10" fmla="*/ 352 w 982"/>
              <a:gd name="T11" fmla="*/ 641 h 728"/>
              <a:gd name="T12" fmla="*/ 590 w 982"/>
              <a:gd name="T13" fmla="*/ 693 h 728"/>
              <a:gd name="T14" fmla="*/ 705 w 982"/>
              <a:gd name="T15" fmla="*/ 726 h 728"/>
              <a:gd name="T16" fmla="*/ 738 w 982"/>
              <a:gd name="T17" fmla="*/ 638 h 728"/>
              <a:gd name="T18" fmla="*/ 821 w 982"/>
              <a:gd name="T19" fmla="*/ 637 h 728"/>
              <a:gd name="T20" fmla="*/ 858 w 982"/>
              <a:gd name="T21" fmla="*/ 548 h 728"/>
              <a:gd name="T22" fmla="*/ 715 w 982"/>
              <a:gd name="T23" fmla="*/ 600 h 728"/>
              <a:gd name="T24" fmla="*/ 585 w 982"/>
              <a:gd name="T25" fmla="*/ 218 h 728"/>
              <a:gd name="T26" fmla="*/ 628 w 982"/>
              <a:gd name="T27" fmla="*/ 133 h 728"/>
              <a:gd name="T28" fmla="*/ 660 w 982"/>
              <a:gd name="T29" fmla="*/ 86 h 728"/>
              <a:gd name="T30" fmla="*/ 733 w 982"/>
              <a:gd name="T31" fmla="*/ 26 h 728"/>
              <a:gd name="T32" fmla="*/ 669 w 982"/>
              <a:gd name="T33" fmla="*/ 89 h 728"/>
              <a:gd name="T34" fmla="*/ 620 w 982"/>
              <a:gd name="T35" fmla="*/ 151 h 728"/>
              <a:gd name="T36" fmla="*/ 607 w 982"/>
              <a:gd name="T37" fmla="*/ 232 h 728"/>
              <a:gd name="T38" fmla="*/ 533 w 982"/>
              <a:gd name="T39" fmla="*/ 439 h 728"/>
              <a:gd name="T40" fmla="*/ 690 w 982"/>
              <a:gd name="T41" fmla="*/ 235 h 728"/>
              <a:gd name="T42" fmla="*/ 854 w 982"/>
              <a:gd name="T43" fmla="*/ 398 h 728"/>
              <a:gd name="T44" fmla="*/ 881 w 982"/>
              <a:gd name="T45" fmla="*/ 399 h 728"/>
              <a:gd name="T46" fmla="*/ 714 w 982"/>
              <a:gd name="T47" fmla="*/ 200 h 728"/>
              <a:gd name="T48" fmla="*/ 732 w 982"/>
              <a:gd name="T49" fmla="*/ 172 h 728"/>
              <a:gd name="T50" fmla="*/ 724 w 982"/>
              <a:gd name="T51" fmla="*/ 148 h 728"/>
              <a:gd name="T52" fmla="*/ 668 w 982"/>
              <a:gd name="T53" fmla="*/ 154 h 728"/>
              <a:gd name="T54" fmla="*/ 645 w 982"/>
              <a:gd name="T55" fmla="*/ 147 h 728"/>
              <a:gd name="T56" fmla="*/ 697 w 982"/>
              <a:gd name="T57" fmla="*/ 373 h 728"/>
              <a:gd name="T58" fmla="*/ 693 w 982"/>
              <a:gd name="T59" fmla="*/ 422 h 728"/>
              <a:gd name="T60" fmla="*/ 710 w 982"/>
              <a:gd name="T61" fmla="*/ 384 h 728"/>
              <a:gd name="T62" fmla="*/ 891 w 982"/>
              <a:gd name="T63" fmla="*/ 277 h 728"/>
              <a:gd name="T64" fmla="*/ 890 w 982"/>
              <a:gd name="T65" fmla="*/ 390 h 728"/>
              <a:gd name="T66" fmla="*/ 979 w 982"/>
              <a:gd name="T67" fmla="*/ 358 h 728"/>
              <a:gd name="T68" fmla="*/ 903 w 982"/>
              <a:gd name="T69" fmla="*/ 279 h 728"/>
              <a:gd name="T70" fmla="*/ 891 w 982"/>
              <a:gd name="T71" fmla="*/ 430 h 728"/>
              <a:gd name="T72" fmla="*/ 845 w 982"/>
              <a:gd name="T73" fmla="*/ 524 h 728"/>
              <a:gd name="T74" fmla="*/ 970 w 982"/>
              <a:gd name="T75" fmla="*/ 513 h 728"/>
              <a:gd name="T76" fmla="*/ 894 w 982"/>
              <a:gd name="T77" fmla="*/ 430 h 728"/>
              <a:gd name="T78" fmla="*/ 823 w 982"/>
              <a:gd name="T79" fmla="*/ 532 h 728"/>
              <a:gd name="T80" fmla="*/ 752 w 982"/>
              <a:gd name="T81" fmla="*/ 546 h 728"/>
              <a:gd name="T82" fmla="*/ 688 w 982"/>
              <a:gd name="T83" fmla="*/ 558 h 728"/>
              <a:gd name="T84" fmla="*/ 752 w 982"/>
              <a:gd name="T85" fmla="*/ 546 h 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982" h="728">
                <a:moveTo>
                  <a:pt x="715" y="0"/>
                </a:moveTo>
                <a:cubicBezTo>
                  <a:pt x="703" y="0"/>
                  <a:pt x="692" y="7"/>
                  <a:pt x="681" y="11"/>
                </a:cubicBezTo>
                <a:cubicBezTo>
                  <a:pt x="671" y="14"/>
                  <a:pt x="662" y="20"/>
                  <a:pt x="652" y="23"/>
                </a:cubicBezTo>
                <a:cubicBezTo>
                  <a:pt x="635" y="22"/>
                  <a:pt x="617" y="22"/>
                  <a:pt x="600" y="22"/>
                </a:cubicBezTo>
                <a:cubicBezTo>
                  <a:pt x="590" y="22"/>
                  <a:pt x="581" y="25"/>
                  <a:pt x="572" y="29"/>
                </a:cubicBezTo>
                <a:cubicBezTo>
                  <a:pt x="560" y="35"/>
                  <a:pt x="551" y="48"/>
                  <a:pt x="543" y="59"/>
                </a:cubicBezTo>
                <a:cubicBezTo>
                  <a:pt x="524" y="76"/>
                  <a:pt x="508" y="96"/>
                  <a:pt x="492" y="115"/>
                </a:cubicBezTo>
                <a:cubicBezTo>
                  <a:pt x="479" y="131"/>
                  <a:pt x="464" y="144"/>
                  <a:pt x="449" y="158"/>
                </a:cubicBezTo>
                <a:cubicBezTo>
                  <a:pt x="429" y="179"/>
                  <a:pt x="409" y="200"/>
                  <a:pt x="386" y="220"/>
                </a:cubicBezTo>
                <a:cubicBezTo>
                  <a:pt x="368" y="237"/>
                  <a:pt x="350" y="254"/>
                  <a:pt x="331" y="270"/>
                </a:cubicBezTo>
                <a:cubicBezTo>
                  <a:pt x="309" y="286"/>
                  <a:pt x="280" y="290"/>
                  <a:pt x="253" y="289"/>
                </a:cubicBezTo>
                <a:cubicBezTo>
                  <a:pt x="226" y="285"/>
                  <a:pt x="200" y="289"/>
                  <a:pt x="173" y="285"/>
                </a:cubicBezTo>
                <a:cubicBezTo>
                  <a:pt x="157" y="284"/>
                  <a:pt x="140" y="286"/>
                  <a:pt x="123" y="284"/>
                </a:cubicBezTo>
                <a:cubicBezTo>
                  <a:pt x="82" y="280"/>
                  <a:pt x="41" y="278"/>
                  <a:pt x="0" y="274"/>
                </a:cubicBezTo>
                <a:lnTo>
                  <a:pt x="0" y="610"/>
                </a:lnTo>
                <a:cubicBezTo>
                  <a:pt x="48" y="606"/>
                  <a:pt x="95" y="597"/>
                  <a:pt x="142" y="594"/>
                </a:cubicBezTo>
                <a:cubicBezTo>
                  <a:pt x="183" y="590"/>
                  <a:pt x="225" y="593"/>
                  <a:pt x="265" y="602"/>
                </a:cubicBezTo>
                <a:cubicBezTo>
                  <a:pt x="297" y="609"/>
                  <a:pt x="325" y="624"/>
                  <a:pt x="352" y="641"/>
                </a:cubicBezTo>
                <a:cubicBezTo>
                  <a:pt x="373" y="655"/>
                  <a:pt x="398" y="665"/>
                  <a:pt x="424" y="670"/>
                </a:cubicBezTo>
                <a:cubicBezTo>
                  <a:pt x="464" y="677"/>
                  <a:pt x="504" y="678"/>
                  <a:pt x="544" y="686"/>
                </a:cubicBezTo>
                <a:cubicBezTo>
                  <a:pt x="559" y="689"/>
                  <a:pt x="575" y="688"/>
                  <a:pt x="590" y="693"/>
                </a:cubicBezTo>
                <a:cubicBezTo>
                  <a:pt x="604" y="698"/>
                  <a:pt x="620" y="700"/>
                  <a:pt x="633" y="707"/>
                </a:cubicBezTo>
                <a:cubicBezTo>
                  <a:pt x="646" y="713"/>
                  <a:pt x="660" y="716"/>
                  <a:pt x="672" y="722"/>
                </a:cubicBezTo>
                <a:cubicBezTo>
                  <a:pt x="683" y="728"/>
                  <a:pt x="694" y="726"/>
                  <a:pt x="705" y="726"/>
                </a:cubicBezTo>
                <a:cubicBezTo>
                  <a:pt x="715" y="726"/>
                  <a:pt x="726" y="727"/>
                  <a:pt x="736" y="723"/>
                </a:cubicBezTo>
                <a:cubicBezTo>
                  <a:pt x="754" y="714"/>
                  <a:pt x="766" y="694"/>
                  <a:pt x="763" y="673"/>
                </a:cubicBezTo>
                <a:cubicBezTo>
                  <a:pt x="759" y="658"/>
                  <a:pt x="746" y="650"/>
                  <a:pt x="738" y="638"/>
                </a:cubicBezTo>
                <a:cubicBezTo>
                  <a:pt x="730" y="626"/>
                  <a:pt x="722" y="616"/>
                  <a:pt x="715" y="605"/>
                </a:cubicBezTo>
                <a:cubicBezTo>
                  <a:pt x="719" y="605"/>
                  <a:pt x="724" y="605"/>
                  <a:pt x="728" y="607"/>
                </a:cubicBezTo>
                <a:cubicBezTo>
                  <a:pt x="759" y="618"/>
                  <a:pt x="790" y="627"/>
                  <a:pt x="821" y="637"/>
                </a:cubicBezTo>
                <a:cubicBezTo>
                  <a:pt x="835" y="644"/>
                  <a:pt x="852" y="641"/>
                  <a:pt x="864" y="633"/>
                </a:cubicBezTo>
                <a:cubicBezTo>
                  <a:pt x="880" y="621"/>
                  <a:pt x="891" y="601"/>
                  <a:pt x="887" y="581"/>
                </a:cubicBezTo>
                <a:cubicBezTo>
                  <a:pt x="884" y="566"/>
                  <a:pt x="872" y="553"/>
                  <a:pt x="858" y="548"/>
                </a:cubicBezTo>
                <a:cubicBezTo>
                  <a:pt x="849" y="544"/>
                  <a:pt x="839" y="549"/>
                  <a:pt x="830" y="545"/>
                </a:cubicBezTo>
                <a:cubicBezTo>
                  <a:pt x="790" y="531"/>
                  <a:pt x="755" y="540"/>
                  <a:pt x="760" y="594"/>
                </a:cubicBezTo>
                <a:cubicBezTo>
                  <a:pt x="746" y="599"/>
                  <a:pt x="730" y="605"/>
                  <a:pt x="715" y="600"/>
                </a:cubicBezTo>
                <a:cubicBezTo>
                  <a:pt x="707" y="601"/>
                  <a:pt x="703" y="594"/>
                  <a:pt x="699" y="589"/>
                </a:cubicBezTo>
                <a:cubicBezTo>
                  <a:pt x="685" y="568"/>
                  <a:pt x="648" y="571"/>
                  <a:pt x="632" y="595"/>
                </a:cubicBezTo>
                <a:cubicBezTo>
                  <a:pt x="511" y="579"/>
                  <a:pt x="373" y="348"/>
                  <a:pt x="585" y="218"/>
                </a:cubicBezTo>
                <a:cubicBezTo>
                  <a:pt x="582" y="209"/>
                  <a:pt x="576" y="198"/>
                  <a:pt x="579" y="188"/>
                </a:cubicBezTo>
                <a:cubicBezTo>
                  <a:pt x="592" y="176"/>
                  <a:pt x="605" y="164"/>
                  <a:pt x="613" y="149"/>
                </a:cubicBezTo>
                <a:cubicBezTo>
                  <a:pt x="616" y="142"/>
                  <a:pt x="622" y="137"/>
                  <a:pt x="628" y="133"/>
                </a:cubicBezTo>
                <a:cubicBezTo>
                  <a:pt x="629" y="127"/>
                  <a:pt x="629" y="121"/>
                  <a:pt x="628" y="116"/>
                </a:cubicBezTo>
                <a:cubicBezTo>
                  <a:pt x="632" y="116"/>
                  <a:pt x="636" y="112"/>
                  <a:pt x="640" y="111"/>
                </a:cubicBezTo>
                <a:cubicBezTo>
                  <a:pt x="651" y="107"/>
                  <a:pt x="663" y="99"/>
                  <a:pt x="660" y="86"/>
                </a:cubicBezTo>
                <a:cubicBezTo>
                  <a:pt x="667" y="83"/>
                  <a:pt x="673" y="76"/>
                  <a:pt x="681" y="77"/>
                </a:cubicBezTo>
                <a:cubicBezTo>
                  <a:pt x="692" y="79"/>
                  <a:pt x="706" y="80"/>
                  <a:pt x="714" y="70"/>
                </a:cubicBezTo>
                <a:cubicBezTo>
                  <a:pt x="724" y="57"/>
                  <a:pt x="734" y="43"/>
                  <a:pt x="733" y="26"/>
                </a:cubicBezTo>
                <a:cubicBezTo>
                  <a:pt x="733" y="16"/>
                  <a:pt x="728" y="3"/>
                  <a:pt x="717" y="0"/>
                </a:cubicBezTo>
                <a:cubicBezTo>
                  <a:pt x="716" y="0"/>
                  <a:pt x="715" y="0"/>
                  <a:pt x="715" y="0"/>
                </a:cubicBezTo>
                <a:close/>
                <a:moveTo>
                  <a:pt x="669" y="89"/>
                </a:moveTo>
                <a:cubicBezTo>
                  <a:pt x="665" y="115"/>
                  <a:pt x="649" y="117"/>
                  <a:pt x="637" y="120"/>
                </a:cubicBezTo>
                <a:cubicBezTo>
                  <a:pt x="637" y="130"/>
                  <a:pt x="640" y="133"/>
                  <a:pt x="634" y="137"/>
                </a:cubicBezTo>
                <a:cubicBezTo>
                  <a:pt x="626" y="145"/>
                  <a:pt x="625" y="145"/>
                  <a:pt x="620" y="151"/>
                </a:cubicBezTo>
                <a:cubicBezTo>
                  <a:pt x="622" y="169"/>
                  <a:pt x="644" y="196"/>
                  <a:pt x="671" y="196"/>
                </a:cubicBezTo>
                <a:cubicBezTo>
                  <a:pt x="676" y="199"/>
                  <a:pt x="676" y="207"/>
                  <a:pt x="673" y="212"/>
                </a:cubicBezTo>
                <a:cubicBezTo>
                  <a:pt x="650" y="216"/>
                  <a:pt x="628" y="222"/>
                  <a:pt x="607" y="232"/>
                </a:cubicBezTo>
                <a:cubicBezTo>
                  <a:pt x="451" y="301"/>
                  <a:pt x="479" y="518"/>
                  <a:pt x="632" y="574"/>
                </a:cubicBezTo>
                <a:cubicBezTo>
                  <a:pt x="636" y="567"/>
                  <a:pt x="645" y="558"/>
                  <a:pt x="656" y="554"/>
                </a:cubicBezTo>
                <a:cubicBezTo>
                  <a:pt x="596" y="541"/>
                  <a:pt x="549" y="496"/>
                  <a:pt x="533" y="439"/>
                </a:cubicBezTo>
                <a:cubicBezTo>
                  <a:pt x="533" y="438"/>
                  <a:pt x="533" y="438"/>
                  <a:pt x="533" y="438"/>
                </a:cubicBezTo>
                <a:cubicBezTo>
                  <a:pt x="529" y="424"/>
                  <a:pt x="527" y="410"/>
                  <a:pt x="527" y="395"/>
                </a:cubicBezTo>
                <a:cubicBezTo>
                  <a:pt x="527" y="307"/>
                  <a:pt x="600" y="235"/>
                  <a:pt x="690" y="235"/>
                </a:cubicBezTo>
                <a:cubicBezTo>
                  <a:pt x="771" y="235"/>
                  <a:pt x="838" y="291"/>
                  <a:pt x="851" y="367"/>
                </a:cubicBezTo>
                <a:cubicBezTo>
                  <a:pt x="853" y="376"/>
                  <a:pt x="854" y="385"/>
                  <a:pt x="854" y="394"/>
                </a:cubicBezTo>
                <a:lnTo>
                  <a:pt x="854" y="398"/>
                </a:lnTo>
                <a:cubicBezTo>
                  <a:pt x="854" y="414"/>
                  <a:pt x="852" y="430"/>
                  <a:pt x="847" y="445"/>
                </a:cubicBezTo>
                <a:cubicBezTo>
                  <a:pt x="854" y="438"/>
                  <a:pt x="864" y="434"/>
                  <a:pt x="878" y="435"/>
                </a:cubicBezTo>
                <a:cubicBezTo>
                  <a:pt x="880" y="423"/>
                  <a:pt x="880" y="411"/>
                  <a:pt x="881" y="399"/>
                </a:cubicBezTo>
                <a:cubicBezTo>
                  <a:pt x="859" y="381"/>
                  <a:pt x="845" y="347"/>
                  <a:pt x="863" y="320"/>
                </a:cubicBezTo>
                <a:cubicBezTo>
                  <a:pt x="840" y="270"/>
                  <a:pt x="773" y="222"/>
                  <a:pt x="714" y="213"/>
                </a:cubicBezTo>
                <a:cubicBezTo>
                  <a:pt x="713" y="209"/>
                  <a:pt x="713" y="204"/>
                  <a:pt x="714" y="200"/>
                </a:cubicBezTo>
                <a:cubicBezTo>
                  <a:pt x="790" y="177"/>
                  <a:pt x="770" y="90"/>
                  <a:pt x="669" y="89"/>
                </a:cubicBezTo>
                <a:close/>
                <a:moveTo>
                  <a:pt x="723" y="118"/>
                </a:moveTo>
                <a:cubicBezTo>
                  <a:pt x="738" y="123"/>
                  <a:pt x="755" y="148"/>
                  <a:pt x="732" y="172"/>
                </a:cubicBezTo>
                <a:cubicBezTo>
                  <a:pt x="728" y="176"/>
                  <a:pt x="720" y="181"/>
                  <a:pt x="714" y="181"/>
                </a:cubicBezTo>
                <a:cubicBezTo>
                  <a:pt x="714" y="175"/>
                  <a:pt x="713" y="168"/>
                  <a:pt x="715" y="162"/>
                </a:cubicBezTo>
                <a:cubicBezTo>
                  <a:pt x="718" y="157"/>
                  <a:pt x="724" y="154"/>
                  <a:pt x="724" y="148"/>
                </a:cubicBezTo>
                <a:cubicBezTo>
                  <a:pt x="725" y="138"/>
                  <a:pt x="723" y="128"/>
                  <a:pt x="723" y="118"/>
                </a:cubicBezTo>
                <a:close/>
                <a:moveTo>
                  <a:pt x="667" y="131"/>
                </a:moveTo>
                <a:cubicBezTo>
                  <a:pt x="668" y="137"/>
                  <a:pt x="666" y="148"/>
                  <a:pt x="668" y="154"/>
                </a:cubicBezTo>
                <a:cubicBezTo>
                  <a:pt x="669" y="160"/>
                  <a:pt x="671" y="160"/>
                  <a:pt x="674" y="164"/>
                </a:cubicBezTo>
                <a:cubicBezTo>
                  <a:pt x="674" y="170"/>
                  <a:pt x="674" y="176"/>
                  <a:pt x="674" y="182"/>
                </a:cubicBezTo>
                <a:cubicBezTo>
                  <a:pt x="657" y="179"/>
                  <a:pt x="644" y="163"/>
                  <a:pt x="645" y="147"/>
                </a:cubicBezTo>
                <a:cubicBezTo>
                  <a:pt x="650" y="142"/>
                  <a:pt x="661" y="133"/>
                  <a:pt x="667" y="131"/>
                </a:cubicBezTo>
                <a:close/>
                <a:moveTo>
                  <a:pt x="762" y="267"/>
                </a:moveTo>
                <a:lnTo>
                  <a:pt x="697" y="373"/>
                </a:lnTo>
                <a:cubicBezTo>
                  <a:pt x="697" y="373"/>
                  <a:pt x="697" y="373"/>
                  <a:pt x="693" y="373"/>
                </a:cubicBezTo>
                <a:cubicBezTo>
                  <a:pt x="681" y="373"/>
                  <a:pt x="670" y="384"/>
                  <a:pt x="670" y="398"/>
                </a:cubicBezTo>
                <a:cubicBezTo>
                  <a:pt x="670" y="411"/>
                  <a:pt x="681" y="422"/>
                  <a:pt x="693" y="422"/>
                </a:cubicBezTo>
                <a:cubicBezTo>
                  <a:pt x="705" y="422"/>
                  <a:pt x="716" y="411"/>
                  <a:pt x="716" y="398"/>
                </a:cubicBezTo>
                <a:lnTo>
                  <a:pt x="716" y="397"/>
                </a:lnTo>
                <a:cubicBezTo>
                  <a:pt x="715" y="390"/>
                  <a:pt x="710" y="384"/>
                  <a:pt x="710" y="384"/>
                </a:cubicBezTo>
                <a:lnTo>
                  <a:pt x="766" y="270"/>
                </a:lnTo>
                <a:lnTo>
                  <a:pt x="762" y="267"/>
                </a:lnTo>
                <a:close/>
                <a:moveTo>
                  <a:pt x="891" y="277"/>
                </a:moveTo>
                <a:cubicBezTo>
                  <a:pt x="880" y="277"/>
                  <a:pt x="866" y="279"/>
                  <a:pt x="853" y="284"/>
                </a:cubicBezTo>
                <a:cubicBezTo>
                  <a:pt x="852" y="289"/>
                  <a:pt x="875" y="312"/>
                  <a:pt x="878" y="316"/>
                </a:cubicBezTo>
                <a:cubicBezTo>
                  <a:pt x="863" y="348"/>
                  <a:pt x="859" y="364"/>
                  <a:pt x="890" y="390"/>
                </a:cubicBezTo>
                <a:cubicBezTo>
                  <a:pt x="894" y="396"/>
                  <a:pt x="903" y="399"/>
                  <a:pt x="912" y="399"/>
                </a:cubicBezTo>
                <a:cubicBezTo>
                  <a:pt x="928" y="399"/>
                  <a:pt x="942" y="391"/>
                  <a:pt x="956" y="387"/>
                </a:cubicBezTo>
                <a:cubicBezTo>
                  <a:pt x="969" y="383"/>
                  <a:pt x="978" y="371"/>
                  <a:pt x="979" y="358"/>
                </a:cubicBezTo>
                <a:cubicBezTo>
                  <a:pt x="981" y="345"/>
                  <a:pt x="982" y="329"/>
                  <a:pt x="972" y="318"/>
                </a:cubicBezTo>
                <a:cubicBezTo>
                  <a:pt x="962" y="309"/>
                  <a:pt x="953" y="298"/>
                  <a:pt x="940" y="293"/>
                </a:cubicBezTo>
                <a:cubicBezTo>
                  <a:pt x="928" y="288"/>
                  <a:pt x="916" y="282"/>
                  <a:pt x="903" y="279"/>
                </a:cubicBezTo>
                <a:cubicBezTo>
                  <a:pt x="900" y="278"/>
                  <a:pt x="896" y="277"/>
                  <a:pt x="891" y="277"/>
                </a:cubicBezTo>
                <a:close/>
                <a:moveTo>
                  <a:pt x="894" y="430"/>
                </a:moveTo>
                <a:cubicBezTo>
                  <a:pt x="893" y="430"/>
                  <a:pt x="892" y="430"/>
                  <a:pt x="891" y="430"/>
                </a:cubicBezTo>
                <a:cubicBezTo>
                  <a:pt x="891" y="439"/>
                  <a:pt x="885" y="447"/>
                  <a:pt x="880" y="445"/>
                </a:cubicBezTo>
                <a:cubicBezTo>
                  <a:pt x="872" y="439"/>
                  <a:pt x="825" y="465"/>
                  <a:pt x="854" y="509"/>
                </a:cubicBezTo>
                <a:cubicBezTo>
                  <a:pt x="854" y="512"/>
                  <a:pt x="847" y="521"/>
                  <a:pt x="845" y="524"/>
                </a:cubicBezTo>
                <a:cubicBezTo>
                  <a:pt x="858" y="524"/>
                  <a:pt x="883" y="534"/>
                  <a:pt x="895" y="540"/>
                </a:cubicBezTo>
                <a:cubicBezTo>
                  <a:pt x="913" y="546"/>
                  <a:pt x="936" y="547"/>
                  <a:pt x="952" y="535"/>
                </a:cubicBezTo>
                <a:cubicBezTo>
                  <a:pt x="960" y="530"/>
                  <a:pt x="964" y="521"/>
                  <a:pt x="970" y="513"/>
                </a:cubicBezTo>
                <a:cubicBezTo>
                  <a:pt x="975" y="506"/>
                  <a:pt x="974" y="496"/>
                  <a:pt x="974" y="488"/>
                </a:cubicBezTo>
                <a:cubicBezTo>
                  <a:pt x="974" y="471"/>
                  <a:pt x="962" y="457"/>
                  <a:pt x="948" y="449"/>
                </a:cubicBezTo>
                <a:cubicBezTo>
                  <a:pt x="935" y="446"/>
                  <a:pt x="910" y="430"/>
                  <a:pt x="894" y="430"/>
                </a:cubicBezTo>
                <a:close/>
                <a:moveTo>
                  <a:pt x="834" y="474"/>
                </a:moveTo>
                <a:cubicBezTo>
                  <a:pt x="823" y="495"/>
                  <a:pt x="807" y="512"/>
                  <a:pt x="788" y="526"/>
                </a:cubicBezTo>
                <a:cubicBezTo>
                  <a:pt x="799" y="526"/>
                  <a:pt x="811" y="528"/>
                  <a:pt x="823" y="532"/>
                </a:cubicBezTo>
                <a:cubicBezTo>
                  <a:pt x="830" y="525"/>
                  <a:pt x="837" y="517"/>
                  <a:pt x="841" y="507"/>
                </a:cubicBezTo>
                <a:cubicBezTo>
                  <a:pt x="836" y="498"/>
                  <a:pt x="833" y="486"/>
                  <a:pt x="834" y="474"/>
                </a:cubicBezTo>
                <a:close/>
                <a:moveTo>
                  <a:pt x="752" y="546"/>
                </a:moveTo>
                <a:lnTo>
                  <a:pt x="752" y="546"/>
                </a:lnTo>
                <a:cubicBezTo>
                  <a:pt x="733" y="554"/>
                  <a:pt x="712" y="558"/>
                  <a:pt x="691" y="558"/>
                </a:cubicBezTo>
                <a:cubicBezTo>
                  <a:pt x="690" y="558"/>
                  <a:pt x="689" y="558"/>
                  <a:pt x="688" y="558"/>
                </a:cubicBezTo>
                <a:cubicBezTo>
                  <a:pt x="694" y="562"/>
                  <a:pt x="700" y="568"/>
                  <a:pt x="706" y="578"/>
                </a:cubicBezTo>
                <a:cubicBezTo>
                  <a:pt x="721" y="583"/>
                  <a:pt x="737" y="580"/>
                  <a:pt x="751" y="572"/>
                </a:cubicBezTo>
                <a:cubicBezTo>
                  <a:pt x="750" y="551"/>
                  <a:pt x="755" y="554"/>
                  <a:pt x="752" y="546"/>
                </a:cubicBezTo>
                <a:close/>
              </a:path>
            </a:pathLst>
          </a:custGeom>
          <a:solidFill>
            <a:srgbClr val="44546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88" name="Compass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0F3A6834-3733-480C-95BB-59F4E6F4EE0F}"/>
              </a:ext>
            </a:extLst>
          </p:cNvPr>
          <p:cNvGrpSpPr>
            <a:grpSpLocks noChangeAspect="1"/>
          </p:cNvGrpSpPr>
          <p:nvPr/>
        </p:nvGrpSpPr>
        <p:grpSpPr>
          <a:xfrm>
            <a:off x="10990025" y="3051282"/>
            <a:ext cx="694290" cy="695721"/>
            <a:chOff x="2439274" y="1703074"/>
            <a:chExt cx="541808" cy="542925"/>
          </a:xfrm>
          <a:solidFill>
            <a:schemeClr val="bg1"/>
          </a:solidFill>
        </p:grpSpPr>
        <p:sp>
          <p:nvSpPr>
            <p:cNvPr id="89" name="Freeform 300">
              <a:extLst>
                <a:ext uri="{FF2B5EF4-FFF2-40B4-BE49-F238E27FC236}">
                  <a16:creationId xmlns:a16="http://schemas.microsoft.com/office/drawing/2014/main" id="{4F3D1FF2-9067-445F-9A26-C4EC492DB7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39274" y="1703074"/>
              <a:ext cx="541808" cy="542925"/>
            </a:xfrm>
            <a:custGeom>
              <a:avLst/>
              <a:gdLst>
                <a:gd name="T0" fmla="*/ 366 w 733"/>
                <a:gd name="T1" fmla="*/ 666 h 733"/>
                <a:gd name="T2" fmla="*/ 66 w 733"/>
                <a:gd name="T3" fmla="*/ 366 h 733"/>
                <a:gd name="T4" fmla="*/ 366 w 733"/>
                <a:gd name="T5" fmla="*/ 66 h 733"/>
                <a:gd name="T6" fmla="*/ 666 w 733"/>
                <a:gd name="T7" fmla="*/ 366 h 733"/>
                <a:gd name="T8" fmla="*/ 366 w 733"/>
                <a:gd name="T9" fmla="*/ 666 h 733"/>
                <a:gd name="T10" fmla="*/ 366 w 733"/>
                <a:gd name="T11" fmla="*/ 0 h 733"/>
                <a:gd name="T12" fmla="*/ 0 w 733"/>
                <a:gd name="T13" fmla="*/ 366 h 733"/>
                <a:gd name="T14" fmla="*/ 366 w 733"/>
                <a:gd name="T15" fmla="*/ 733 h 733"/>
                <a:gd name="T16" fmla="*/ 733 w 733"/>
                <a:gd name="T17" fmla="*/ 366 h 733"/>
                <a:gd name="T18" fmla="*/ 366 w 733"/>
                <a:gd name="T19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3" h="733">
                  <a:moveTo>
                    <a:pt x="366" y="666"/>
                  </a:moveTo>
                  <a:cubicBezTo>
                    <a:pt x="201" y="666"/>
                    <a:pt x="66" y="532"/>
                    <a:pt x="66" y="366"/>
                  </a:cubicBezTo>
                  <a:cubicBezTo>
                    <a:pt x="66" y="201"/>
                    <a:pt x="201" y="66"/>
                    <a:pt x="366" y="66"/>
                  </a:cubicBezTo>
                  <a:cubicBezTo>
                    <a:pt x="532" y="66"/>
                    <a:pt x="666" y="201"/>
                    <a:pt x="666" y="366"/>
                  </a:cubicBezTo>
                  <a:cubicBezTo>
                    <a:pt x="666" y="532"/>
                    <a:pt x="532" y="666"/>
                    <a:pt x="366" y="666"/>
                  </a:cubicBezTo>
                  <a:close/>
                  <a:moveTo>
                    <a:pt x="366" y="0"/>
                  </a:moveTo>
                  <a:cubicBezTo>
                    <a:pt x="164" y="0"/>
                    <a:pt x="0" y="164"/>
                    <a:pt x="0" y="366"/>
                  </a:cubicBezTo>
                  <a:cubicBezTo>
                    <a:pt x="0" y="569"/>
                    <a:pt x="164" y="733"/>
                    <a:pt x="366" y="733"/>
                  </a:cubicBezTo>
                  <a:cubicBezTo>
                    <a:pt x="569" y="733"/>
                    <a:pt x="733" y="569"/>
                    <a:pt x="733" y="366"/>
                  </a:cubicBezTo>
                  <a:cubicBezTo>
                    <a:pt x="733" y="164"/>
                    <a:pt x="569" y="0"/>
                    <a:pt x="366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" name="Freeform: Shape 392">
              <a:extLst>
                <a:ext uri="{FF2B5EF4-FFF2-40B4-BE49-F238E27FC236}">
                  <a16:creationId xmlns:a16="http://schemas.microsoft.com/office/drawing/2014/main" id="{EFF4D614-34DA-495A-8962-3BBDE4480263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2646686" y="1770958"/>
              <a:ext cx="126982" cy="407156"/>
            </a:xfrm>
            <a:custGeom>
              <a:avLst/>
              <a:gdLst>
                <a:gd name="connsiteX0" fmla="*/ 63492 w 126982"/>
                <a:gd name="connsiteY0" fmla="*/ 154239 h 407156"/>
                <a:gd name="connsiteX1" fmla="*/ 14338 w 126982"/>
                <a:gd name="connsiteY1" fmla="*/ 203486 h 407156"/>
                <a:gd name="connsiteX2" fmla="*/ 63492 w 126982"/>
                <a:gd name="connsiteY2" fmla="*/ 252733 h 407156"/>
                <a:gd name="connsiteX3" fmla="*/ 112646 w 126982"/>
                <a:gd name="connsiteY3" fmla="*/ 203486 h 407156"/>
                <a:gd name="connsiteX4" fmla="*/ 63492 w 126982"/>
                <a:gd name="connsiteY4" fmla="*/ 154239 h 407156"/>
                <a:gd name="connsiteX5" fmla="*/ 63491 w 126982"/>
                <a:gd name="connsiteY5" fmla="*/ 0 h 407156"/>
                <a:gd name="connsiteX6" fmla="*/ 126981 w 126982"/>
                <a:gd name="connsiteY6" fmla="*/ 203578 h 407156"/>
                <a:gd name="connsiteX7" fmla="*/ 126982 w 126982"/>
                <a:gd name="connsiteY7" fmla="*/ 203578 h 407156"/>
                <a:gd name="connsiteX8" fmla="*/ 63491 w 126982"/>
                <a:gd name="connsiteY8" fmla="*/ 407156 h 407156"/>
                <a:gd name="connsiteX9" fmla="*/ 1 w 126982"/>
                <a:gd name="connsiteY9" fmla="*/ 203578 h 407156"/>
                <a:gd name="connsiteX10" fmla="*/ 0 w 126982"/>
                <a:gd name="connsiteY10" fmla="*/ 203578 h 407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6982" h="407156">
                  <a:moveTo>
                    <a:pt x="63492" y="154239"/>
                  </a:moveTo>
                  <a:cubicBezTo>
                    <a:pt x="36345" y="154239"/>
                    <a:pt x="14338" y="176288"/>
                    <a:pt x="14338" y="203486"/>
                  </a:cubicBezTo>
                  <a:cubicBezTo>
                    <a:pt x="14338" y="230684"/>
                    <a:pt x="36345" y="252733"/>
                    <a:pt x="63492" y="252733"/>
                  </a:cubicBezTo>
                  <a:cubicBezTo>
                    <a:pt x="90639" y="252733"/>
                    <a:pt x="112646" y="230684"/>
                    <a:pt x="112646" y="203486"/>
                  </a:cubicBezTo>
                  <a:cubicBezTo>
                    <a:pt x="112646" y="176288"/>
                    <a:pt x="90639" y="154239"/>
                    <a:pt x="63492" y="154239"/>
                  </a:cubicBezTo>
                  <a:close/>
                  <a:moveTo>
                    <a:pt x="63491" y="0"/>
                  </a:moveTo>
                  <a:lnTo>
                    <a:pt x="126981" y="203578"/>
                  </a:lnTo>
                  <a:lnTo>
                    <a:pt x="126982" y="203578"/>
                  </a:lnTo>
                  <a:lnTo>
                    <a:pt x="63491" y="407156"/>
                  </a:lnTo>
                  <a:lnTo>
                    <a:pt x="1" y="203578"/>
                  </a:lnTo>
                  <a:lnTo>
                    <a:pt x="0" y="2035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91" name="Blocking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1B83C4A-15BF-4830-B122-D2AAA4DEDB20}"/>
              </a:ext>
            </a:extLst>
          </p:cNvPr>
          <p:cNvSpPr>
            <a:spLocks noChangeAspect="1" noEditPoints="1"/>
          </p:cNvSpPr>
          <p:nvPr>
            <p:custDataLst>
              <p:tags r:id="rId5"/>
            </p:custDataLst>
          </p:nvPr>
        </p:nvSpPr>
        <p:spPr bwMode="auto">
          <a:xfrm>
            <a:off x="8720333" y="725839"/>
            <a:ext cx="827855" cy="397646"/>
          </a:xfrm>
          <a:custGeom>
            <a:avLst/>
            <a:gdLst>
              <a:gd name="T0" fmla="*/ 691 w 3097"/>
              <a:gd name="T1" fmla="*/ 1488 h 1488"/>
              <a:gd name="T2" fmla="*/ 511 w 3097"/>
              <a:gd name="T3" fmla="*/ 739 h 1488"/>
              <a:gd name="T4" fmla="*/ 3007 w 3097"/>
              <a:gd name="T5" fmla="*/ 0 h 1488"/>
              <a:gd name="T6" fmla="*/ 511 w 3097"/>
              <a:gd name="T7" fmla="*/ 90 h 1488"/>
              <a:gd name="T8" fmla="*/ 635 w 3097"/>
              <a:gd name="T9" fmla="*/ 486 h 1488"/>
              <a:gd name="T10" fmla="*/ 691 w 3097"/>
              <a:gd name="T11" fmla="*/ 180 h 1488"/>
              <a:gd name="T12" fmla="*/ 2917 w 3097"/>
              <a:gd name="T13" fmla="*/ 1488 h 1488"/>
              <a:gd name="T14" fmla="*/ 3097 w 3097"/>
              <a:gd name="T15" fmla="*/ 90 h 1488"/>
              <a:gd name="T16" fmla="*/ 1262 w 3097"/>
              <a:gd name="T17" fmla="*/ 480 h 1488"/>
              <a:gd name="T18" fmla="*/ 869 w 3097"/>
              <a:gd name="T19" fmla="*/ 480 h 1488"/>
              <a:gd name="T20" fmla="*/ 1262 w 3097"/>
              <a:gd name="T21" fmla="*/ 480 h 1488"/>
              <a:gd name="T22" fmla="*/ 0 w 3097"/>
              <a:gd name="T23" fmla="*/ 310 h 1488"/>
              <a:gd name="T24" fmla="*/ 394 w 3097"/>
              <a:gd name="T25" fmla="*/ 310 h 1488"/>
              <a:gd name="T26" fmla="*/ 2745 w 3097"/>
              <a:gd name="T27" fmla="*/ 1021 h 1488"/>
              <a:gd name="T28" fmla="*/ 1850 w 3097"/>
              <a:gd name="T29" fmla="*/ 794 h 1488"/>
              <a:gd name="T30" fmla="*/ 1711 w 3097"/>
              <a:gd name="T31" fmla="*/ 633 h 1488"/>
              <a:gd name="T32" fmla="*/ 2023 w 3097"/>
              <a:gd name="T33" fmla="*/ 636 h 1488"/>
              <a:gd name="T34" fmla="*/ 1817 w 3097"/>
              <a:gd name="T35" fmla="*/ 487 h 1488"/>
              <a:gd name="T36" fmla="*/ 1737 w 3097"/>
              <a:gd name="T37" fmla="*/ 486 h 1488"/>
              <a:gd name="T38" fmla="*/ 1261 w 3097"/>
              <a:gd name="T39" fmla="*/ 672 h 1488"/>
              <a:gd name="T40" fmla="*/ 771 w 3097"/>
              <a:gd name="T41" fmla="*/ 655 h 1488"/>
              <a:gd name="T42" fmla="*/ 415 w 3097"/>
              <a:gd name="T43" fmla="*/ 448 h 1488"/>
              <a:gd name="T44" fmla="*/ 717 w 3097"/>
              <a:gd name="T45" fmla="*/ 806 h 1488"/>
              <a:gd name="T46" fmla="*/ 1111 w 3097"/>
              <a:gd name="T47" fmla="*/ 938 h 1488"/>
              <a:gd name="T48" fmla="*/ 1692 w 3097"/>
              <a:gd name="T49" fmla="*/ 1173 h 1488"/>
              <a:gd name="T50" fmla="*/ 1980 w 3097"/>
              <a:gd name="T51" fmla="*/ 1393 h 1488"/>
              <a:gd name="T52" fmla="*/ 2245 w 3097"/>
              <a:gd name="T53" fmla="*/ 1281 h 1488"/>
              <a:gd name="T54" fmla="*/ 2442 w 3097"/>
              <a:gd name="T55" fmla="*/ 1217 h 1488"/>
              <a:gd name="T56" fmla="*/ 2191 w 3097"/>
              <a:gd name="T57" fmla="*/ 1121 h 1488"/>
              <a:gd name="T58" fmla="*/ 2008 w 3097"/>
              <a:gd name="T59" fmla="*/ 1201 h 1488"/>
              <a:gd name="T60" fmla="*/ 1896 w 3097"/>
              <a:gd name="T61" fmla="*/ 1066 h 1488"/>
              <a:gd name="T62" fmla="*/ 2718 w 3097"/>
              <a:gd name="T63" fmla="*/ 1186 h 14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097" h="1488">
                <a:moveTo>
                  <a:pt x="691" y="867"/>
                </a:moveTo>
                <a:lnTo>
                  <a:pt x="691" y="1488"/>
                </a:lnTo>
                <a:lnTo>
                  <a:pt x="511" y="1488"/>
                </a:lnTo>
                <a:lnTo>
                  <a:pt x="511" y="739"/>
                </a:lnTo>
                <a:cubicBezTo>
                  <a:pt x="566" y="789"/>
                  <a:pt x="631" y="841"/>
                  <a:pt x="691" y="867"/>
                </a:cubicBezTo>
                <a:close/>
                <a:moveTo>
                  <a:pt x="3007" y="0"/>
                </a:moveTo>
                <a:lnTo>
                  <a:pt x="601" y="0"/>
                </a:lnTo>
                <a:cubicBezTo>
                  <a:pt x="552" y="0"/>
                  <a:pt x="511" y="41"/>
                  <a:pt x="511" y="90"/>
                </a:cubicBezTo>
                <a:lnTo>
                  <a:pt x="511" y="400"/>
                </a:lnTo>
                <a:cubicBezTo>
                  <a:pt x="545" y="421"/>
                  <a:pt x="589" y="452"/>
                  <a:pt x="635" y="486"/>
                </a:cubicBezTo>
                <a:cubicBezTo>
                  <a:pt x="653" y="499"/>
                  <a:pt x="672" y="512"/>
                  <a:pt x="691" y="526"/>
                </a:cubicBezTo>
                <a:lnTo>
                  <a:pt x="691" y="180"/>
                </a:lnTo>
                <a:lnTo>
                  <a:pt x="2917" y="180"/>
                </a:lnTo>
                <a:lnTo>
                  <a:pt x="2917" y="1488"/>
                </a:lnTo>
                <a:lnTo>
                  <a:pt x="3097" y="1488"/>
                </a:lnTo>
                <a:lnTo>
                  <a:pt x="3097" y="90"/>
                </a:lnTo>
                <a:cubicBezTo>
                  <a:pt x="3097" y="41"/>
                  <a:pt x="3056" y="0"/>
                  <a:pt x="3007" y="0"/>
                </a:cubicBezTo>
                <a:close/>
                <a:moveTo>
                  <a:pt x="1262" y="480"/>
                </a:moveTo>
                <a:cubicBezTo>
                  <a:pt x="1262" y="588"/>
                  <a:pt x="1174" y="676"/>
                  <a:pt x="1066" y="676"/>
                </a:cubicBezTo>
                <a:cubicBezTo>
                  <a:pt x="957" y="676"/>
                  <a:pt x="869" y="588"/>
                  <a:pt x="869" y="480"/>
                </a:cubicBezTo>
                <a:cubicBezTo>
                  <a:pt x="869" y="371"/>
                  <a:pt x="957" y="283"/>
                  <a:pt x="1066" y="283"/>
                </a:cubicBezTo>
                <a:cubicBezTo>
                  <a:pt x="1174" y="283"/>
                  <a:pt x="1262" y="371"/>
                  <a:pt x="1262" y="480"/>
                </a:cubicBezTo>
                <a:close/>
                <a:moveTo>
                  <a:pt x="197" y="114"/>
                </a:moveTo>
                <a:cubicBezTo>
                  <a:pt x="88" y="114"/>
                  <a:pt x="0" y="202"/>
                  <a:pt x="0" y="310"/>
                </a:cubicBezTo>
                <a:cubicBezTo>
                  <a:pt x="0" y="419"/>
                  <a:pt x="88" y="507"/>
                  <a:pt x="197" y="507"/>
                </a:cubicBezTo>
                <a:cubicBezTo>
                  <a:pt x="305" y="507"/>
                  <a:pt x="394" y="419"/>
                  <a:pt x="394" y="310"/>
                </a:cubicBezTo>
                <a:cubicBezTo>
                  <a:pt x="394" y="202"/>
                  <a:pt x="305" y="114"/>
                  <a:pt x="197" y="114"/>
                </a:cubicBezTo>
                <a:close/>
                <a:moveTo>
                  <a:pt x="2745" y="1021"/>
                </a:moveTo>
                <a:cubicBezTo>
                  <a:pt x="2385" y="922"/>
                  <a:pt x="1898" y="804"/>
                  <a:pt x="1854" y="794"/>
                </a:cubicBezTo>
                <a:cubicBezTo>
                  <a:pt x="1852" y="794"/>
                  <a:pt x="1851" y="794"/>
                  <a:pt x="1850" y="794"/>
                </a:cubicBezTo>
                <a:cubicBezTo>
                  <a:pt x="1766" y="774"/>
                  <a:pt x="1631" y="726"/>
                  <a:pt x="1498" y="673"/>
                </a:cubicBezTo>
                <a:cubicBezTo>
                  <a:pt x="1556" y="644"/>
                  <a:pt x="1651" y="639"/>
                  <a:pt x="1711" y="633"/>
                </a:cubicBezTo>
                <a:cubicBezTo>
                  <a:pt x="1720" y="633"/>
                  <a:pt x="1728" y="631"/>
                  <a:pt x="1734" y="630"/>
                </a:cubicBezTo>
                <a:cubicBezTo>
                  <a:pt x="1814" y="626"/>
                  <a:pt x="1970" y="627"/>
                  <a:pt x="2023" y="636"/>
                </a:cubicBezTo>
                <a:cubicBezTo>
                  <a:pt x="2083" y="645"/>
                  <a:pt x="2200" y="539"/>
                  <a:pt x="2081" y="517"/>
                </a:cubicBezTo>
                <a:cubicBezTo>
                  <a:pt x="2006" y="504"/>
                  <a:pt x="1903" y="487"/>
                  <a:pt x="1817" y="487"/>
                </a:cubicBezTo>
                <a:cubicBezTo>
                  <a:pt x="1786" y="487"/>
                  <a:pt x="1761" y="486"/>
                  <a:pt x="1737" y="487"/>
                </a:cubicBezTo>
                <a:cubicBezTo>
                  <a:pt x="1737" y="487"/>
                  <a:pt x="1737" y="486"/>
                  <a:pt x="1737" y="486"/>
                </a:cubicBezTo>
                <a:cubicBezTo>
                  <a:pt x="1737" y="486"/>
                  <a:pt x="1461" y="490"/>
                  <a:pt x="1338" y="535"/>
                </a:cubicBezTo>
                <a:cubicBezTo>
                  <a:pt x="1327" y="586"/>
                  <a:pt x="1301" y="634"/>
                  <a:pt x="1261" y="672"/>
                </a:cubicBezTo>
                <a:cubicBezTo>
                  <a:pt x="1152" y="778"/>
                  <a:pt x="1014" y="748"/>
                  <a:pt x="931" y="711"/>
                </a:cubicBezTo>
                <a:cubicBezTo>
                  <a:pt x="873" y="690"/>
                  <a:pt x="794" y="664"/>
                  <a:pt x="771" y="655"/>
                </a:cubicBezTo>
                <a:cubicBezTo>
                  <a:pt x="706" y="628"/>
                  <a:pt x="540" y="493"/>
                  <a:pt x="465" y="450"/>
                </a:cubicBezTo>
                <a:cubicBezTo>
                  <a:pt x="444" y="438"/>
                  <a:pt x="424" y="437"/>
                  <a:pt x="415" y="448"/>
                </a:cubicBezTo>
                <a:cubicBezTo>
                  <a:pt x="388" y="480"/>
                  <a:pt x="413" y="563"/>
                  <a:pt x="464" y="606"/>
                </a:cubicBezTo>
                <a:cubicBezTo>
                  <a:pt x="515" y="649"/>
                  <a:pt x="628" y="768"/>
                  <a:pt x="717" y="806"/>
                </a:cubicBezTo>
                <a:cubicBezTo>
                  <a:pt x="778" y="832"/>
                  <a:pt x="977" y="879"/>
                  <a:pt x="1092" y="932"/>
                </a:cubicBezTo>
                <a:cubicBezTo>
                  <a:pt x="1099" y="935"/>
                  <a:pt x="1106" y="937"/>
                  <a:pt x="1111" y="938"/>
                </a:cubicBezTo>
                <a:cubicBezTo>
                  <a:pt x="1293" y="1014"/>
                  <a:pt x="1488" y="1067"/>
                  <a:pt x="1609" y="1097"/>
                </a:cubicBezTo>
                <a:cubicBezTo>
                  <a:pt x="1657" y="1113"/>
                  <a:pt x="1671" y="1140"/>
                  <a:pt x="1692" y="1173"/>
                </a:cubicBezTo>
                <a:cubicBezTo>
                  <a:pt x="1715" y="1210"/>
                  <a:pt x="1815" y="1346"/>
                  <a:pt x="1840" y="1378"/>
                </a:cubicBezTo>
                <a:cubicBezTo>
                  <a:pt x="1866" y="1409"/>
                  <a:pt x="1936" y="1416"/>
                  <a:pt x="1980" y="1393"/>
                </a:cubicBezTo>
                <a:cubicBezTo>
                  <a:pt x="2025" y="1371"/>
                  <a:pt x="2164" y="1290"/>
                  <a:pt x="2238" y="1282"/>
                </a:cubicBezTo>
                <a:cubicBezTo>
                  <a:pt x="2241" y="1283"/>
                  <a:pt x="2243" y="1282"/>
                  <a:pt x="2245" y="1281"/>
                </a:cubicBezTo>
                <a:cubicBezTo>
                  <a:pt x="2258" y="1287"/>
                  <a:pt x="2250" y="1284"/>
                  <a:pt x="2268" y="1290"/>
                </a:cubicBezTo>
                <a:cubicBezTo>
                  <a:pt x="2450" y="1350"/>
                  <a:pt x="2458" y="1224"/>
                  <a:pt x="2442" y="1217"/>
                </a:cubicBezTo>
                <a:cubicBezTo>
                  <a:pt x="2426" y="1210"/>
                  <a:pt x="2243" y="1132"/>
                  <a:pt x="2216" y="1120"/>
                </a:cubicBezTo>
                <a:cubicBezTo>
                  <a:pt x="2207" y="1116"/>
                  <a:pt x="2198" y="1117"/>
                  <a:pt x="2191" y="1121"/>
                </a:cubicBezTo>
                <a:cubicBezTo>
                  <a:pt x="2190" y="1120"/>
                  <a:pt x="2190" y="1120"/>
                  <a:pt x="2190" y="1120"/>
                </a:cubicBezTo>
                <a:cubicBezTo>
                  <a:pt x="2190" y="1120"/>
                  <a:pt x="2027" y="1187"/>
                  <a:pt x="2008" y="1201"/>
                </a:cubicBezTo>
                <a:cubicBezTo>
                  <a:pt x="1990" y="1215"/>
                  <a:pt x="1964" y="1206"/>
                  <a:pt x="1958" y="1190"/>
                </a:cubicBezTo>
                <a:cubicBezTo>
                  <a:pt x="1953" y="1178"/>
                  <a:pt x="1905" y="1107"/>
                  <a:pt x="1896" y="1066"/>
                </a:cubicBezTo>
                <a:cubicBezTo>
                  <a:pt x="1917" y="1018"/>
                  <a:pt x="1962" y="1031"/>
                  <a:pt x="1999" y="1037"/>
                </a:cubicBezTo>
                <a:cubicBezTo>
                  <a:pt x="2037" y="1043"/>
                  <a:pt x="2563" y="1151"/>
                  <a:pt x="2718" y="1186"/>
                </a:cubicBezTo>
                <a:cubicBezTo>
                  <a:pt x="2872" y="1220"/>
                  <a:pt x="2865" y="1043"/>
                  <a:pt x="2745" y="1021"/>
                </a:cubicBezTo>
              </a:path>
            </a:pathLst>
          </a:custGeom>
          <a:solidFill>
            <a:srgbClr val="44546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2" name="Soccer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DBA0F33-DE1C-4D4E-9AF1-BADA5BE01388}"/>
              </a:ext>
            </a:extLst>
          </p:cNvPr>
          <p:cNvSpPr>
            <a:spLocks noChangeAspect="1" noEditPoints="1"/>
          </p:cNvSpPr>
          <p:nvPr>
            <p:custDataLst>
              <p:tags r:id="rId6"/>
            </p:custDataLst>
          </p:nvPr>
        </p:nvSpPr>
        <p:spPr bwMode="auto">
          <a:xfrm>
            <a:off x="6182880" y="556352"/>
            <a:ext cx="646799" cy="542925"/>
          </a:xfrm>
          <a:custGeom>
            <a:avLst/>
            <a:gdLst>
              <a:gd name="T0" fmla="*/ 393 w 2228"/>
              <a:gd name="T1" fmla="*/ 1667 h 1872"/>
              <a:gd name="T2" fmla="*/ 196 w 2228"/>
              <a:gd name="T3" fmla="*/ 1864 h 1872"/>
              <a:gd name="T4" fmla="*/ 0 w 2228"/>
              <a:gd name="T5" fmla="*/ 1667 h 1872"/>
              <a:gd name="T6" fmla="*/ 196 w 2228"/>
              <a:gd name="T7" fmla="*/ 1470 h 1872"/>
              <a:gd name="T8" fmla="*/ 393 w 2228"/>
              <a:gd name="T9" fmla="*/ 1667 h 1872"/>
              <a:gd name="T10" fmla="*/ 2104 w 2228"/>
              <a:gd name="T11" fmla="*/ 576 h 1872"/>
              <a:gd name="T12" fmla="*/ 1793 w 2228"/>
              <a:gd name="T13" fmla="*/ 609 h 1872"/>
              <a:gd name="T14" fmla="*/ 1477 w 2228"/>
              <a:gd name="T15" fmla="*/ 567 h 1872"/>
              <a:gd name="T16" fmla="*/ 1403 w 2228"/>
              <a:gd name="T17" fmla="*/ 606 h 1872"/>
              <a:gd name="T18" fmla="*/ 1145 w 2228"/>
              <a:gd name="T19" fmla="*/ 1107 h 1872"/>
              <a:gd name="T20" fmla="*/ 737 w 2228"/>
              <a:gd name="T21" fmla="*/ 1728 h 1872"/>
              <a:gd name="T22" fmla="*/ 740 w 2228"/>
              <a:gd name="T23" fmla="*/ 1728 h 1872"/>
              <a:gd name="T24" fmla="*/ 835 w 2228"/>
              <a:gd name="T25" fmla="*/ 1871 h 1872"/>
              <a:gd name="T26" fmla="*/ 642 w 2228"/>
              <a:gd name="T27" fmla="*/ 1871 h 1872"/>
              <a:gd name="T28" fmla="*/ 642 w 2228"/>
              <a:gd name="T29" fmla="*/ 1872 h 1872"/>
              <a:gd name="T30" fmla="*/ 641 w 2228"/>
              <a:gd name="T31" fmla="*/ 1871 h 1872"/>
              <a:gd name="T32" fmla="*/ 518 w 2228"/>
              <a:gd name="T33" fmla="*/ 1871 h 1872"/>
              <a:gd name="T34" fmla="*/ 497 w 2228"/>
              <a:gd name="T35" fmla="*/ 1791 h 1872"/>
              <a:gd name="T36" fmla="*/ 497 w 2228"/>
              <a:gd name="T37" fmla="*/ 1790 h 1872"/>
              <a:gd name="T38" fmla="*/ 839 w 2228"/>
              <a:gd name="T39" fmla="*/ 1167 h 1872"/>
              <a:gd name="T40" fmla="*/ 795 w 2228"/>
              <a:gd name="T41" fmla="*/ 1187 h 1872"/>
              <a:gd name="T42" fmla="*/ 542 w 2228"/>
              <a:gd name="T43" fmla="*/ 1413 h 1872"/>
              <a:gd name="T44" fmla="*/ 390 w 2228"/>
              <a:gd name="T45" fmla="*/ 1278 h 1872"/>
              <a:gd name="T46" fmla="*/ 739 w 2228"/>
              <a:gd name="T47" fmla="*/ 889 h 1872"/>
              <a:gd name="T48" fmla="*/ 915 w 2228"/>
              <a:gd name="T49" fmla="*/ 557 h 1872"/>
              <a:gd name="T50" fmla="*/ 705 w 2228"/>
              <a:gd name="T51" fmla="*/ 560 h 1872"/>
              <a:gd name="T52" fmla="*/ 453 w 2228"/>
              <a:gd name="T53" fmla="*/ 743 h 1872"/>
              <a:gd name="T54" fmla="*/ 289 w 2228"/>
              <a:gd name="T55" fmla="*/ 708 h 1872"/>
              <a:gd name="T56" fmla="*/ 599 w 2228"/>
              <a:gd name="T57" fmla="*/ 419 h 1872"/>
              <a:gd name="T58" fmla="*/ 1049 w 2228"/>
              <a:gd name="T59" fmla="*/ 362 h 1872"/>
              <a:gd name="T60" fmla="*/ 1258 w 2228"/>
              <a:gd name="T61" fmla="*/ 463 h 1872"/>
              <a:gd name="T62" fmla="*/ 1452 w 2228"/>
              <a:gd name="T63" fmla="*/ 380 h 1872"/>
              <a:gd name="T64" fmla="*/ 1452 w 2228"/>
              <a:gd name="T65" fmla="*/ 380 h 1872"/>
              <a:gd name="T66" fmla="*/ 1811 w 2228"/>
              <a:gd name="T67" fmla="*/ 449 h 1872"/>
              <a:gd name="T68" fmla="*/ 2171 w 2228"/>
              <a:gd name="T69" fmla="*/ 435 h 1872"/>
              <a:gd name="T70" fmla="*/ 2218 w 2228"/>
              <a:gd name="T71" fmla="*/ 455 h 1872"/>
              <a:gd name="T72" fmla="*/ 2104 w 2228"/>
              <a:gd name="T73" fmla="*/ 576 h 1872"/>
              <a:gd name="T74" fmla="*/ 842 w 2228"/>
              <a:gd name="T75" fmla="*/ 1163 h 1872"/>
              <a:gd name="T76" fmla="*/ 841 w 2228"/>
              <a:gd name="T77" fmla="*/ 1163 h 1872"/>
              <a:gd name="T78" fmla="*/ 841 w 2228"/>
              <a:gd name="T79" fmla="*/ 1164 h 1872"/>
              <a:gd name="T80" fmla="*/ 842 w 2228"/>
              <a:gd name="T81" fmla="*/ 1163 h 1872"/>
              <a:gd name="T82" fmla="*/ 1258 w 2228"/>
              <a:gd name="T83" fmla="*/ 394 h 1872"/>
              <a:gd name="T84" fmla="*/ 1455 w 2228"/>
              <a:gd name="T85" fmla="*/ 197 h 1872"/>
              <a:gd name="T86" fmla="*/ 1258 w 2228"/>
              <a:gd name="T87" fmla="*/ 0 h 1872"/>
              <a:gd name="T88" fmla="*/ 1062 w 2228"/>
              <a:gd name="T89" fmla="*/ 197 h 1872"/>
              <a:gd name="T90" fmla="*/ 1258 w 2228"/>
              <a:gd name="T91" fmla="*/ 394 h 18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2228" h="1872">
                <a:moveTo>
                  <a:pt x="393" y="1667"/>
                </a:moveTo>
                <a:cubicBezTo>
                  <a:pt x="393" y="1776"/>
                  <a:pt x="305" y="1864"/>
                  <a:pt x="196" y="1864"/>
                </a:cubicBezTo>
                <a:cubicBezTo>
                  <a:pt x="88" y="1864"/>
                  <a:pt x="0" y="1776"/>
                  <a:pt x="0" y="1667"/>
                </a:cubicBezTo>
                <a:cubicBezTo>
                  <a:pt x="0" y="1558"/>
                  <a:pt x="88" y="1470"/>
                  <a:pt x="196" y="1470"/>
                </a:cubicBezTo>
                <a:cubicBezTo>
                  <a:pt x="305" y="1470"/>
                  <a:pt x="393" y="1558"/>
                  <a:pt x="393" y="1667"/>
                </a:cubicBezTo>
                <a:close/>
                <a:moveTo>
                  <a:pt x="2104" y="576"/>
                </a:moveTo>
                <a:cubicBezTo>
                  <a:pt x="2038" y="592"/>
                  <a:pt x="1891" y="614"/>
                  <a:pt x="1793" y="609"/>
                </a:cubicBezTo>
                <a:cubicBezTo>
                  <a:pt x="1727" y="606"/>
                  <a:pt x="1571" y="582"/>
                  <a:pt x="1477" y="567"/>
                </a:cubicBezTo>
                <a:cubicBezTo>
                  <a:pt x="1446" y="563"/>
                  <a:pt x="1418" y="589"/>
                  <a:pt x="1403" y="606"/>
                </a:cubicBezTo>
                <a:cubicBezTo>
                  <a:pt x="1335" y="783"/>
                  <a:pt x="1220" y="1013"/>
                  <a:pt x="1145" y="1107"/>
                </a:cubicBezTo>
                <a:lnTo>
                  <a:pt x="737" y="1728"/>
                </a:lnTo>
                <a:lnTo>
                  <a:pt x="740" y="1728"/>
                </a:lnTo>
                <a:cubicBezTo>
                  <a:pt x="846" y="1733"/>
                  <a:pt x="856" y="1871"/>
                  <a:pt x="835" y="1871"/>
                </a:cubicBezTo>
                <a:lnTo>
                  <a:pt x="642" y="1871"/>
                </a:lnTo>
                <a:lnTo>
                  <a:pt x="642" y="1872"/>
                </a:lnTo>
                <a:lnTo>
                  <a:pt x="641" y="1871"/>
                </a:lnTo>
                <a:lnTo>
                  <a:pt x="518" y="1871"/>
                </a:lnTo>
                <a:cubicBezTo>
                  <a:pt x="485" y="1871"/>
                  <a:pt x="477" y="1832"/>
                  <a:pt x="497" y="1791"/>
                </a:cubicBezTo>
                <a:lnTo>
                  <a:pt x="497" y="1790"/>
                </a:lnTo>
                <a:lnTo>
                  <a:pt x="839" y="1167"/>
                </a:lnTo>
                <a:cubicBezTo>
                  <a:pt x="835" y="1165"/>
                  <a:pt x="822" y="1162"/>
                  <a:pt x="795" y="1187"/>
                </a:cubicBezTo>
                <a:cubicBezTo>
                  <a:pt x="690" y="1286"/>
                  <a:pt x="581" y="1387"/>
                  <a:pt x="542" y="1413"/>
                </a:cubicBezTo>
                <a:cubicBezTo>
                  <a:pt x="459" y="1459"/>
                  <a:pt x="339" y="1341"/>
                  <a:pt x="390" y="1278"/>
                </a:cubicBezTo>
                <a:cubicBezTo>
                  <a:pt x="492" y="1147"/>
                  <a:pt x="665" y="986"/>
                  <a:pt x="739" y="889"/>
                </a:cubicBezTo>
                <a:cubicBezTo>
                  <a:pt x="797" y="793"/>
                  <a:pt x="863" y="663"/>
                  <a:pt x="915" y="557"/>
                </a:cubicBezTo>
                <a:lnTo>
                  <a:pt x="705" y="560"/>
                </a:lnTo>
                <a:cubicBezTo>
                  <a:pt x="667" y="587"/>
                  <a:pt x="510" y="700"/>
                  <a:pt x="453" y="743"/>
                </a:cubicBezTo>
                <a:cubicBezTo>
                  <a:pt x="389" y="791"/>
                  <a:pt x="231" y="780"/>
                  <a:pt x="289" y="708"/>
                </a:cubicBezTo>
                <a:cubicBezTo>
                  <a:pt x="346" y="637"/>
                  <a:pt x="599" y="419"/>
                  <a:pt x="599" y="419"/>
                </a:cubicBezTo>
                <a:lnTo>
                  <a:pt x="1049" y="362"/>
                </a:lnTo>
                <a:cubicBezTo>
                  <a:pt x="1098" y="423"/>
                  <a:pt x="1174" y="463"/>
                  <a:pt x="1258" y="463"/>
                </a:cubicBezTo>
                <a:cubicBezTo>
                  <a:pt x="1334" y="463"/>
                  <a:pt x="1403" y="431"/>
                  <a:pt x="1452" y="380"/>
                </a:cubicBezTo>
                <a:cubicBezTo>
                  <a:pt x="1452" y="380"/>
                  <a:pt x="1452" y="380"/>
                  <a:pt x="1452" y="380"/>
                </a:cubicBezTo>
                <a:cubicBezTo>
                  <a:pt x="1521" y="396"/>
                  <a:pt x="1736" y="445"/>
                  <a:pt x="1811" y="449"/>
                </a:cubicBezTo>
                <a:cubicBezTo>
                  <a:pt x="1881" y="454"/>
                  <a:pt x="2085" y="441"/>
                  <a:pt x="2171" y="435"/>
                </a:cubicBezTo>
                <a:cubicBezTo>
                  <a:pt x="2196" y="433"/>
                  <a:pt x="2214" y="441"/>
                  <a:pt x="2218" y="455"/>
                </a:cubicBezTo>
                <a:cubicBezTo>
                  <a:pt x="2228" y="496"/>
                  <a:pt x="2169" y="560"/>
                  <a:pt x="2104" y="576"/>
                </a:cubicBezTo>
                <a:close/>
                <a:moveTo>
                  <a:pt x="842" y="1163"/>
                </a:moveTo>
                <a:cubicBezTo>
                  <a:pt x="841" y="1163"/>
                  <a:pt x="841" y="1163"/>
                  <a:pt x="841" y="1163"/>
                </a:cubicBezTo>
                <a:cubicBezTo>
                  <a:pt x="841" y="1163"/>
                  <a:pt x="841" y="1164"/>
                  <a:pt x="841" y="1164"/>
                </a:cubicBezTo>
                <a:lnTo>
                  <a:pt x="842" y="1163"/>
                </a:lnTo>
                <a:close/>
                <a:moveTo>
                  <a:pt x="1258" y="394"/>
                </a:moveTo>
                <a:cubicBezTo>
                  <a:pt x="1367" y="394"/>
                  <a:pt x="1455" y="306"/>
                  <a:pt x="1455" y="197"/>
                </a:cubicBezTo>
                <a:cubicBezTo>
                  <a:pt x="1455" y="88"/>
                  <a:pt x="1367" y="0"/>
                  <a:pt x="1258" y="0"/>
                </a:cubicBezTo>
                <a:cubicBezTo>
                  <a:pt x="1150" y="0"/>
                  <a:pt x="1062" y="88"/>
                  <a:pt x="1062" y="197"/>
                </a:cubicBezTo>
                <a:cubicBezTo>
                  <a:pt x="1062" y="306"/>
                  <a:pt x="1150" y="394"/>
                  <a:pt x="1258" y="394"/>
                </a:cubicBezTo>
              </a:path>
            </a:pathLst>
          </a:custGeom>
          <a:solidFill>
            <a:srgbClr val="44546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93" name="Strength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19B6384C-7B42-449D-8227-F27CF80559EB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 bwMode="auto">
          <a:xfrm>
            <a:off x="3079847" y="555008"/>
            <a:ext cx="527595" cy="542925"/>
            <a:chOff x="102" y="58"/>
            <a:chExt cx="413" cy="425"/>
          </a:xfrm>
          <a:solidFill>
            <a:srgbClr val="44546A"/>
          </a:solidFill>
        </p:grpSpPr>
        <p:sp>
          <p:nvSpPr>
            <p:cNvPr id="94" name="Strength2">
              <a:extLst>
                <a:ext uri="{FF2B5EF4-FFF2-40B4-BE49-F238E27FC236}">
                  <a16:creationId xmlns:a16="http://schemas.microsoft.com/office/drawing/2014/main" id="{979602D6-9FB9-4A79-A5DC-1E29EB95D6DB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403" y="58"/>
              <a:ext cx="112" cy="223"/>
            </a:xfrm>
            <a:custGeom>
              <a:avLst/>
              <a:gdLst>
                <a:gd name="T0" fmla="*/ 0 w 275"/>
                <a:gd name="T1" fmla="*/ 274 h 548"/>
                <a:gd name="T2" fmla="*/ 275 w 275"/>
                <a:gd name="T3" fmla="*/ 548 h 548"/>
                <a:gd name="T4" fmla="*/ 275 w 275"/>
                <a:gd name="T5" fmla="*/ 0 h 548"/>
                <a:gd name="T6" fmla="*/ 0 w 275"/>
                <a:gd name="T7" fmla="*/ 274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5" h="548">
                  <a:moveTo>
                    <a:pt x="0" y="274"/>
                  </a:moveTo>
                  <a:cubicBezTo>
                    <a:pt x="0" y="426"/>
                    <a:pt x="123" y="548"/>
                    <a:pt x="275" y="548"/>
                  </a:cubicBezTo>
                  <a:lnTo>
                    <a:pt x="275" y="0"/>
                  </a:lnTo>
                  <a:cubicBezTo>
                    <a:pt x="123" y="0"/>
                    <a:pt x="0" y="122"/>
                    <a:pt x="0" y="27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" name="Strength2">
              <a:extLst>
                <a:ext uri="{FF2B5EF4-FFF2-40B4-BE49-F238E27FC236}">
                  <a16:creationId xmlns:a16="http://schemas.microsoft.com/office/drawing/2014/main" id="{475D58E3-2F4B-414C-BECC-2D2B95E38748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102" y="90"/>
              <a:ext cx="413" cy="393"/>
            </a:xfrm>
            <a:custGeom>
              <a:avLst/>
              <a:gdLst>
                <a:gd name="T0" fmla="*/ 1019 w 1019"/>
                <a:gd name="T1" fmla="*/ 525 h 966"/>
                <a:gd name="T2" fmla="*/ 664 w 1019"/>
                <a:gd name="T3" fmla="*/ 527 h 966"/>
                <a:gd name="T4" fmla="*/ 566 w 1019"/>
                <a:gd name="T5" fmla="*/ 527 h 966"/>
                <a:gd name="T6" fmla="*/ 424 w 1019"/>
                <a:gd name="T7" fmla="*/ 414 h 966"/>
                <a:gd name="T8" fmla="*/ 283 w 1019"/>
                <a:gd name="T9" fmla="*/ 527 h 966"/>
                <a:gd name="T10" fmla="*/ 228 w 1019"/>
                <a:gd name="T11" fmla="*/ 527 h 966"/>
                <a:gd name="T12" fmla="*/ 293 w 1019"/>
                <a:gd name="T13" fmla="*/ 195 h 966"/>
                <a:gd name="T14" fmla="*/ 79 w 1019"/>
                <a:gd name="T15" fmla="*/ 162 h 966"/>
                <a:gd name="T16" fmla="*/ 15 w 1019"/>
                <a:gd name="T17" fmla="*/ 522 h 966"/>
                <a:gd name="T18" fmla="*/ 51 w 1019"/>
                <a:gd name="T19" fmla="*/ 678 h 966"/>
                <a:gd name="T20" fmla="*/ 202 w 1019"/>
                <a:gd name="T21" fmla="*/ 744 h 966"/>
                <a:gd name="T22" fmla="*/ 632 w 1019"/>
                <a:gd name="T23" fmla="*/ 743 h 966"/>
                <a:gd name="T24" fmla="*/ 634 w 1019"/>
                <a:gd name="T25" fmla="*/ 905 h 966"/>
                <a:gd name="T26" fmla="*/ 634 w 1019"/>
                <a:gd name="T27" fmla="*/ 966 h 966"/>
                <a:gd name="T28" fmla="*/ 1019 w 1019"/>
                <a:gd name="T29" fmla="*/ 966 h 966"/>
                <a:gd name="T30" fmla="*/ 1019 w 1019"/>
                <a:gd name="T31" fmla="*/ 525 h 9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19" h="966">
                  <a:moveTo>
                    <a:pt x="1019" y="525"/>
                  </a:moveTo>
                  <a:lnTo>
                    <a:pt x="664" y="527"/>
                  </a:lnTo>
                  <a:lnTo>
                    <a:pt x="566" y="527"/>
                  </a:lnTo>
                  <a:cubicBezTo>
                    <a:pt x="552" y="462"/>
                    <a:pt x="494" y="414"/>
                    <a:pt x="424" y="414"/>
                  </a:cubicBezTo>
                  <a:cubicBezTo>
                    <a:pt x="355" y="414"/>
                    <a:pt x="297" y="462"/>
                    <a:pt x="283" y="527"/>
                  </a:cubicBezTo>
                  <a:lnTo>
                    <a:pt x="228" y="527"/>
                  </a:lnTo>
                  <a:lnTo>
                    <a:pt x="293" y="195"/>
                  </a:lnTo>
                  <a:cubicBezTo>
                    <a:pt x="318" y="33"/>
                    <a:pt x="105" y="0"/>
                    <a:pt x="79" y="162"/>
                  </a:cubicBezTo>
                  <a:lnTo>
                    <a:pt x="15" y="522"/>
                  </a:lnTo>
                  <a:cubicBezTo>
                    <a:pt x="15" y="522"/>
                    <a:pt x="0" y="616"/>
                    <a:pt x="51" y="678"/>
                  </a:cubicBezTo>
                  <a:cubicBezTo>
                    <a:pt x="102" y="740"/>
                    <a:pt x="202" y="744"/>
                    <a:pt x="202" y="744"/>
                  </a:cubicBezTo>
                  <a:lnTo>
                    <a:pt x="632" y="743"/>
                  </a:lnTo>
                  <a:lnTo>
                    <a:pt x="634" y="905"/>
                  </a:lnTo>
                  <a:lnTo>
                    <a:pt x="634" y="966"/>
                  </a:lnTo>
                  <a:lnTo>
                    <a:pt x="1019" y="966"/>
                  </a:lnTo>
                  <a:lnTo>
                    <a:pt x="1019" y="52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96" name="Strength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6A424A5-02CF-4EE8-B954-073B65E4843F}"/>
              </a:ext>
            </a:extLst>
          </p:cNvPr>
          <p:cNvGrpSpPr>
            <a:grpSpLocks noChangeAspect="1"/>
          </p:cNvGrpSpPr>
          <p:nvPr>
            <p:custDataLst>
              <p:tags r:id="rId8"/>
            </p:custDataLst>
          </p:nvPr>
        </p:nvGrpSpPr>
        <p:grpSpPr bwMode="auto">
          <a:xfrm>
            <a:off x="5996400" y="4243362"/>
            <a:ext cx="809312" cy="615003"/>
            <a:chOff x="6161" y="2717"/>
            <a:chExt cx="2195" cy="1668"/>
          </a:xfrm>
          <a:solidFill>
            <a:srgbClr val="44546A"/>
          </a:solidFill>
        </p:grpSpPr>
        <p:sp>
          <p:nvSpPr>
            <p:cNvPr id="97" name="Freeform 34">
              <a:extLst>
                <a:ext uri="{FF2B5EF4-FFF2-40B4-BE49-F238E27FC236}">
                  <a16:creationId xmlns:a16="http://schemas.microsoft.com/office/drawing/2014/main" id="{8F78C126-980B-4BF5-88A4-12DD219FC9D8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7" y="2717"/>
              <a:ext cx="1545" cy="1668"/>
            </a:xfrm>
            <a:custGeom>
              <a:avLst/>
              <a:gdLst>
                <a:gd name="T0" fmla="*/ 1085 w 3292"/>
                <a:gd name="T1" fmla="*/ 3228 h 3547"/>
                <a:gd name="T2" fmla="*/ 1145 w 3292"/>
                <a:gd name="T3" fmla="*/ 3516 h 3547"/>
                <a:gd name="T4" fmla="*/ 1362 w 3292"/>
                <a:gd name="T5" fmla="*/ 3376 h 3547"/>
                <a:gd name="T6" fmla="*/ 1374 w 3292"/>
                <a:gd name="T7" fmla="*/ 3128 h 3547"/>
                <a:gd name="T8" fmla="*/ 1395 w 3292"/>
                <a:gd name="T9" fmla="*/ 2764 h 3547"/>
                <a:gd name="T10" fmla="*/ 1248 w 3292"/>
                <a:gd name="T11" fmla="*/ 2444 h 3547"/>
                <a:gd name="T12" fmla="*/ 1455 w 3292"/>
                <a:gd name="T13" fmla="*/ 2249 h 3547"/>
                <a:gd name="T14" fmla="*/ 1644 w 3292"/>
                <a:gd name="T15" fmla="*/ 1977 h 3547"/>
                <a:gd name="T16" fmla="*/ 1837 w 3292"/>
                <a:gd name="T17" fmla="*/ 2246 h 3547"/>
                <a:gd name="T18" fmla="*/ 2104 w 3292"/>
                <a:gd name="T19" fmla="*/ 2441 h 3547"/>
                <a:gd name="T20" fmla="*/ 1886 w 3292"/>
                <a:gd name="T21" fmla="*/ 2770 h 3547"/>
                <a:gd name="T22" fmla="*/ 1917 w 3292"/>
                <a:gd name="T23" fmla="*/ 3346 h 3547"/>
                <a:gd name="T24" fmla="*/ 2102 w 3292"/>
                <a:gd name="T25" fmla="*/ 3524 h 3547"/>
                <a:gd name="T26" fmla="*/ 2294 w 3292"/>
                <a:gd name="T27" fmla="*/ 3412 h 3547"/>
                <a:gd name="T28" fmla="*/ 2142 w 3292"/>
                <a:gd name="T29" fmla="*/ 3023 h 3547"/>
                <a:gd name="T30" fmla="*/ 2371 w 3292"/>
                <a:gd name="T31" fmla="*/ 2444 h 3547"/>
                <a:gd name="T32" fmla="*/ 2073 w 3292"/>
                <a:gd name="T33" fmla="*/ 1925 h 3547"/>
                <a:gd name="T34" fmla="*/ 1953 w 3292"/>
                <a:gd name="T35" fmla="*/ 1519 h 3547"/>
                <a:gd name="T36" fmla="*/ 2207 w 3292"/>
                <a:gd name="T37" fmla="*/ 1257 h 3547"/>
                <a:gd name="T38" fmla="*/ 2591 w 3292"/>
                <a:gd name="T39" fmla="*/ 1427 h 3547"/>
                <a:gd name="T40" fmla="*/ 3032 w 3292"/>
                <a:gd name="T41" fmla="*/ 1099 h 3547"/>
                <a:gd name="T42" fmla="*/ 3143 w 3292"/>
                <a:gd name="T43" fmla="*/ 701 h 3547"/>
                <a:gd name="T44" fmla="*/ 2765 w 3292"/>
                <a:gd name="T45" fmla="*/ 949 h 3547"/>
                <a:gd name="T46" fmla="*/ 2389 w 3292"/>
                <a:gd name="T47" fmla="*/ 1048 h 3547"/>
                <a:gd name="T48" fmla="*/ 2048 w 3292"/>
                <a:gd name="T49" fmla="*/ 797 h 3547"/>
                <a:gd name="T50" fmla="*/ 1922 w 3292"/>
                <a:gd name="T51" fmla="*/ 561 h 3547"/>
                <a:gd name="T52" fmla="*/ 1836 w 3292"/>
                <a:gd name="T53" fmla="*/ 68 h 3547"/>
                <a:gd name="T54" fmla="*/ 1382 w 3292"/>
                <a:gd name="T55" fmla="*/ 280 h 3547"/>
                <a:gd name="T56" fmla="*/ 1546 w 3292"/>
                <a:gd name="T57" fmla="*/ 721 h 3547"/>
                <a:gd name="T58" fmla="*/ 1150 w 3292"/>
                <a:gd name="T59" fmla="*/ 849 h 3547"/>
                <a:gd name="T60" fmla="*/ 796 w 3292"/>
                <a:gd name="T61" fmla="*/ 1013 h 3547"/>
                <a:gd name="T62" fmla="*/ 399 w 3292"/>
                <a:gd name="T63" fmla="*/ 796 h 3547"/>
                <a:gd name="T64" fmla="*/ 170 w 3292"/>
                <a:gd name="T65" fmla="*/ 1011 h 3547"/>
                <a:gd name="T66" fmla="*/ 610 w 3292"/>
                <a:gd name="T67" fmla="*/ 1308 h 3547"/>
                <a:gd name="T68" fmla="*/ 1007 w 3292"/>
                <a:gd name="T69" fmla="*/ 1289 h 3547"/>
                <a:gd name="T70" fmla="*/ 1359 w 3292"/>
                <a:gd name="T71" fmla="*/ 1395 h 3547"/>
                <a:gd name="T72" fmla="*/ 1358 w 3292"/>
                <a:gd name="T73" fmla="*/ 1778 h 3547"/>
                <a:gd name="T74" fmla="*/ 1041 w 3292"/>
                <a:gd name="T75" fmla="*/ 2038 h 3547"/>
                <a:gd name="T76" fmla="*/ 1006 w 3292"/>
                <a:gd name="T77" fmla="*/ 2588 h 3547"/>
                <a:gd name="T78" fmla="*/ 1084 w 3292"/>
                <a:gd name="T79" fmla="*/ 2925 h 3547"/>
                <a:gd name="T80" fmla="*/ 1085 w 3292"/>
                <a:gd name="T81" fmla="*/ 3228 h 3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92" h="3547">
                  <a:moveTo>
                    <a:pt x="1085" y="3228"/>
                  </a:moveTo>
                  <a:cubicBezTo>
                    <a:pt x="950" y="3352"/>
                    <a:pt x="948" y="3492"/>
                    <a:pt x="1145" y="3516"/>
                  </a:cubicBezTo>
                  <a:cubicBezTo>
                    <a:pt x="1303" y="3535"/>
                    <a:pt x="1349" y="3520"/>
                    <a:pt x="1362" y="3376"/>
                  </a:cubicBezTo>
                  <a:cubicBezTo>
                    <a:pt x="1367" y="3325"/>
                    <a:pt x="1332" y="3230"/>
                    <a:pt x="1374" y="3128"/>
                  </a:cubicBezTo>
                  <a:cubicBezTo>
                    <a:pt x="1430" y="2992"/>
                    <a:pt x="1429" y="2838"/>
                    <a:pt x="1395" y="2764"/>
                  </a:cubicBezTo>
                  <a:cubicBezTo>
                    <a:pt x="1343" y="2651"/>
                    <a:pt x="1218" y="2568"/>
                    <a:pt x="1248" y="2444"/>
                  </a:cubicBezTo>
                  <a:cubicBezTo>
                    <a:pt x="1266" y="2367"/>
                    <a:pt x="1405" y="2333"/>
                    <a:pt x="1455" y="2249"/>
                  </a:cubicBezTo>
                  <a:cubicBezTo>
                    <a:pt x="1538" y="2108"/>
                    <a:pt x="1552" y="1934"/>
                    <a:pt x="1644" y="1977"/>
                  </a:cubicBezTo>
                  <a:cubicBezTo>
                    <a:pt x="1703" y="2004"/>
                    <a:pt x="1741" y="2160"/>
                    <a:pt x="1837" y="2246"/>
                  </a:cubicBezTo>
                  <a:cubicBezTo>
                    <a:pt x="1949" y="2345"/>
                    <a:pt x="2115" y="2378"/>
                    <a:pt x="2104" y="2441"/>
                  </a:cubicBezTo>
                  <a:cubicBezTo>
                    <a:pt x="2071" y="2637"/>
                    <a:pt x="1936" y="2556"/>
                    <a:pt x="1886" y="2770"/>
                  </a:cubicBezTo>
                  <a:cubicBezTo>
                    <a:pt x="1867" y="2849"/>
                    <a:pt x="1945" y="3122"/>
                    <a:pt x="1917" y="3346"/>
                  </a:cubicBezTo>
                  <a:cubicBezTo>
                    <a:pt x="1903" y="3454"/>
                    <a:pt x="1971" y="3547"/>
                    <a:pt x="2102" y="3524"/>
                  </a:cubicBezTo>
                  <a:cubicBezTo>
                    <a:pt x="2231" y="3502"/>
                    <a:pt x="2277" y="3510"/>
                    <a:pt x="2294" y="3412"/>
                  </a:cubicBezTo>
                  <a:cubicBezTo>
                    <a:pt x="2308" y="3328"/>
                    <a:pt x="1964" y="3373"/>
                    <a:pt x="2142" y="3023"/>
                  </a:cubicBezTo>
                  <a:cubicBezTo>
                    <a:pt x="2230" y="2851"/>
                    <a:pt x="2316" y="2599"/>
                    <a:pt x="2371" y="2444"/>
                  </a:cubicBezTo>
                  <a:cubicBezTo>
                    <a:pt x="2441" y="2250"/>
                    <a:pt x="2234" y="2015"/>
                    <a:pt x="2073" y="1925"/>
                  </a:cubicBezTo>
                  <a:cubicBezTo>
                    <a:pt x="1879" y="1817"/>
                    <a:pt x="1877" y="1805"/>
                    <a:pt x="1953" y="1519"/>
                  </a:cubicBezTo>
                  <a:cubicBezTo>
                    <a:pt x="1990" y="1380"/>
                    <a:pt x="2064" y="1102"/>
                    <a:pt x="2207" y="1257"/>
                  </a:cubicBezTo>
                  <a:cubicBezTo>
                    <a:pt x="2307" y="1365"/>
                    <a:pt x="2425" y="1522"/>
                    <a:pt x="2591" y="1427"/>
                  </a:cubicBezTo>
                  <a:cubicBezTo>
                    <a:pt x="2753" y="1335"/>
                    <a:pt x="2873" y="1190"/>
                    <a:pt x="3032" y="1099"/>
                  </a:cubicBezTo>
                  <a:cubicBezTo>
                    <a:pt x="3150" y="1032"/>
                    <a:pt x="3292" y="785"/>
                    <a:pt x="3143" y="701"/>
                  </a:cubicBezTo>
                  <a:cubicBezTo>
                    <a:pt x="2978" y="609"/>
                    <a:pt x="2864" y="840"/>
                    <a:pt x="2765" y="949"/>
                  </a:cubicBezTo>
                  <a:cubicBezTo>
                    <a:pt x="2674" y="1049"/>
                    <a:pt x="2450" y="1217"/>
                    <a:pt x="2389" y="1048"/>
                  </a:cubicBezTo>
                  <a:cubicBezTo>
                    <a:pt x="2331" y="890"/>
                    <a:pt x="2191" y="811"/>
                    <a:pt x="2048" y="797"/>
                  </a:cubicBezTo>
                  <a:cubicBezTo>
                    <a:pt x="1920" y="784"/>
                    <a:pt x="1796" y="684"/>
                    <a:pt x="1922" y="561"/>
                  </a:cubicBezTo>
                  <a:cubicBezTo>
                    <a:pt x="2049" y="436"/>
                    <a:pt x="2028" y="145"/>
                    <a:pt x="1836" y="68"/>
                  </a:cubicBezTo>
                  <a:cubicBezTo>
                    <a:pt x="1664" y="0"/>
                    <a:pt x="1428" y="80"/>
                    <a:pt x="1382" y="280"/>
                  </a:cubicBezTo>
                  <a:cubicBezTo>
                    <a:pt x="1342" y="459"/>
                    <a:pt x="1521" y="581"/>
                    <a:pt x="1546" y="721"/>
                  </a:cubicBezTo>
                  <a:cubicBezTo>
                    <a:pt x="1578" y="909"/>
                    <a:pt x="1263" y="777"/>
                    <a:pt x="1150" y="849"/>
                  </a:cubicBezTo>
                  <a:cubicBezTo>
                    <a:pt x="1034" y="922"/>
                    <a:pt x="923" y="947"/>
                    <a:pt x="796" y="1013"/>
                  </a:cubicBezTo>
                  <a:cubicBezTo>
                    <a:pt x="587" y="1122"/>
                    <a:pt x="515" y="897"/>
                    <a:pt x="399" y="796"/>
                  </a:cubicBezTo>
                  <a:cubicBezTo>
                    <a:pt x="285" y="697"/>
                    <a:pt x="0" y="929"/>
                    <a:pt x="170" y="1011"/>
                  </a:cubicBezTo>
                  <a:cubicBezTo>
                    <a:pt x="333" y="1089"/>
                    <a:pt x="495" y="1168"/>
                    <a:pt x="610" y="1308"/>
                  </a:cubicBezTo>
                  <a:cubicBezTo>
                    <a:pt x="719" y="1442"/>
                    <a:pt x="923" y="1454"/>
                    <a:pt x="1007" y="1289"/>
                  </a:cubicBezTo>
                  <a:cubicBezTo>
                    <a:pt x="1094" y="1116"/>
                    <a:pt x="1358" y="1213"/>
                    <a:pt x="1359" y="1395"/>
                  </a:cubicBezTo>
                  <a:cubicBezTo>
                    <a:pt x="1359" y="1526"/>
                    <a:pt x="1467" y="1687"/>
                    <a:pt x="1358" y="1778"/>
                  </a:cubicBezTo>
                  <a:cubicBezTo>
                    <a:pt x="1250" y="1868"/>
                    <a:pt x="1119" y="1932"/>
                    <a:pt x="1041" y="2038"/>
                  </a:cubicBezTo>
                  <a:cubicBezTo>
                    <a:pt x="924" y="2197"/>
                    <a:pt x="900" y="2447"/>
                    <a:pt x="1006" y="2588"/>
                  </a:cubicBezTo>
                  <a:cubicBezTo>
                    <a:pt x="1058" y="2657"/>
                    <a:pt x="1061" y="2797"/>
                    <a:pt x="1084" y="2925"/>
                  </a:cubicBezTo>
                  <a:cubicBezTo>
                    <a:pt x="1106" y="3053"/>
                    <a:pt x="1150" y="3168"/>
                    <a:pt x="1085" y="322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" name="Freeform 35">
              <a:extLst>
                <a:ext uri="{FF2B5EF4-FFF2-40B4-BE49-F238E27FC236}">
                  <a16:creationId xmlns:a16="http://schemas.microsoft.com/office/drawing/2014/main" id="{C69EC3C6-7CAE-445B-A607-B4F390EE2624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3" y="3052"/>
              <a:ext cx="1707" cy="163"/>
            </a:xfrm>
            <a:custGeom>
              <a:avLst/>
              <a:gdLst>
                <a:gd name="T0" fmla="*/ 29 w 3638"/>
                <a:gd name="T1" fmla="*/ 297 h 346"/>
                <a:gd name="T2" fmla="*/ 1650 w 3638"/>
                <a:gd name="T3" fmla="*/ 108 h 346"/>
                <a:gd name="T4" fmla="*/ 2856 w 3638"/>
                <a:gd name="T5" fmla="*/ 167 h 346"/>
                <a:gd name="T6" fmla="*/ 3590 w 3638"/>
                <a:gd name="T7" fmla="*/ 346 h 346"/>
                <a:gd name="T8" fmla="*/ 3638 w 3638"/>
                <a:gd name="T9" fmla="*/ 267 h 346"/>
                <a:gd name="T10" fmla="*/ 2799 w 3638"/>
                <a:gd name="T11" fmla="*/ 48 h 346"/>
                <a:gd name="T12" fmla="*/ 1621 w 3638"/>
                <a:gd name="T13" fmla="*/ 28 h 346"/>
                <a:gd name="T14" fmla="*/ 0 w 3638"/>
                <a:gd name="T15" fmla="*/ 197 h 346"/>
                <a:gd name="T16" fmla="*/ 29 w 3638"/>
                <a:gd name="T17" fmla="*/ 297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8" h="346">
                  <a:moveTo>
                    <a:pt x="29" y="297"/>
                  </a:moveTo>
                  <a:lnTo>
                    <a:pt x="1650" y="108"/>
                  </a:lnTo>
                  <a:cubicBezTo>
                    <a:pt x="1650" y="108"/>
                    <a:pt x="2498" y="115"/>
                    <a:pt x="2856" y="167"/>
                  </a:cubicBezTo>
                  <a:cubicBezTo>
                    <a:pt x="3081" y="200"/>
                    <a:pt x="3590" y="346"/>
                    <a:pt x="3590" y="346"/>
                  </a:cubicBezTo>
                  <a:lnTo>
                    <a:pt x="3638" y="267"/>
                  </a:lnTo>
                  <a:cubicBezTo>
                    <a:pt x="3638" y="267"/>
                    <a:pt x="3056" y="83"/>
                    <a:pt x="2799" y="48"/>
                  </a:cubicBezTo>
                  <a:cubicBezTo>
                    <a:pt x="2448" y="0"/>
                    <a:pt x="1621" y="28"/>
                    <a:pt x="1621" y="28"/>
                  </a:cubicBezTo>
                  <a:lnTo>
                    <a:pt x="0" y="197"/>
                  </a:lnTo>
                  <a:lnTo>
                    <a:pt x="29" y="29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" name="Freeform 36">
              <a:extLst>
                <a:ext uri="{FF2B5EF4-FFF2-40B4-BE49-F238E27FC236}">
                  <a16:creationId xmlns:a16="http://schemas.microsoft.com/office/drawing/2014/main" id="{3919C852-8A58-4DA4-84C8-317E7C2A7D0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9" y="2961"/>
              <a:ext cx="126" cy="466"/>
            </a:xfrm>
            <a:custGeom>
              <a:avLst/>
              <a:gdLst>
                <a:gd name="T0" fmla="*/ 0 w 269"/>
                <a:gd name="T1" fmla="*/ 18 h 991"/>
                <a:gd name="T2" fmla="*/ 118 w 269"/>
                <a:gd name="T3" fmla="*/ 0 h 991"/>
                <a:gd name="T4" fmla="*/ 269 w 269"/>
                <a:gd name="T5" fmla="*/ 972 h 991"/>
                <a:gd name="T6" fmla="*/ 151 w 269"/>
                <a:gd name="T7" fmla="*/ 991 h 991"/>
                <a:gd name="T8" fmla="*/ 0 w 269"/>
                <a:gd name="T9" fmla="*/ 18 h 9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9" h="991">
                  <a:moveTo>
                    <a:pt x="0" y="18"/>
                  </a:moveTo>
                  <a:lnTo>
                    <a:pt x="118" y="0"/>
                  </a:lnTo>
                  <a:lnTo>
                    <a:pt x="269" y="972"/>
                  </a:lnTo>
                  <a:lnTo>
                    <a:pt x="151" y="991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" name="Freeform 37">
              <a:extLst>
                <a:ext uri="{FF2B5EF4-FFF2-40B4-BE49-F238E27FC236}">
                  <a16:creationId xmlns:a16="http://schemas.microsoft.com/office/drawing/2014/main" id="{996CCDD5-26E1-4B78-9FB3-052FA35C740F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7" y="3010"/>
              <a:ext cx="116" cy="397"/>
            </a:xfrm>
            <a:custGeom>
              <a:avLst/>
              <a:gdLst>
                <a:gd name="T0" fmla="*/ 0 w 246"/>
                <a:gd name="T1" fmla="*/ 19 h 844"/>
                <a:gd name="T2" fmla="*/ 118 w 246"/>
                <a:gd name="T3" fmla="*/ 0 h 844"/>
                <a:gd name="T4" fmla="*/ 246 w 246"/>
                <a:gd name="T5" fmla="*/ 825 h 844"/>
                <a:gd name="T6" fmla="*/ 128 w 246"/>
                <a:gd name="T7" fmla="*/ 844 h 844"/>
                <a:gd name="T8" fmla="*/ 0 w 246"/>
                <a:gd name="T9" fmla="*/ 19 h 8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6" h="844">
                  <a:moveTo>
                    <a:pt x="0" y="19"/>
                  </a:moveTo>
                  <a:lnTo>
                    <a:pt x="118" y="0"/>
                  </a:lnTo>
                  <a:lnTo>
                    <a:pt x="246" y="825"/>
                  </a:lnTo>
                  <a:lnTo>
                    <a:pt x="128" y="844"/>
                  </a:lnTo>
                  <a:lnTo>
                    <a:pt x="0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" name="Freeform 38">
              <a:extLst>
                <a:ext uri="{FF2B5EF4-FFF2-40B4-BE49-F238E27FC236}">
                  <a16:creationId xmlns:a16="http://schemas.microsoft.com/office/drawing/2014/main" id="{D1BC6CA5-E994-4599-AC77-4671C07A281B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1" y="3061"/>
              <a:ext cx="104" cy="323"/>
            </a:xfrm>
            <a:custGeom>
              <a:avLst/>
              <a:gdLst>
                <a:gd name="T0" fmla="*/ 0 w 221"/>
                <a:gd name="T1" fmla="*/ 19 h 687"/>
                <a:gd name="T2" fmla="*/ 118 w 221"/>
                <a:gd name="T3" fmla="*/ 0 h 687"/>
                <a:gd name="T4" fmla="*/ 221 w 221"/>
                <a:gd name="T5" fmla="*/ 668 h 687"/>
                <a:gd name="T6" fmla="*/ 103 w 221"/>
                <a:gd name="T7" fmla="*/ 687 h 687"/>
                <a:gd name="T8" fmla="*/ 0 w 221"/>
                <a:gd name="T9" fmla="*/ 19 h 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1" h="687">
                  <a:moveTo>
                    <a:pt x="0" y="19"/>
                  </a:moveTo>
                  <a:lnTo>
                    <a:pt x="118" y="0"/>
                  </a:lnTo>
                  <a:lnTo>
                    <a:pt x="221" y="668"/>
                  </a:lnTo>
                  <a:lnTo>
                    <a:pt x="103" y="687"/>
                  </a:lnTo>
                  <a:lnTo>
                    <a:pt x="0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" name="Freeform 39">
              <a:extLst>
                <a:ext uri="{FF2B5EF4-FFF2-40B4-BE49-F238E27FC236}">
                  <a16:creationId xmlns:a16="http://schemas.microsoft.com/office/drawing/2014/main" id="{94BF7A7C-5B10-4785-A6F1-E22704D81543}"/>
                </a:ext>
              </a:extLst>
            </p:cNvPr>
            <p:cNvSpPr>
              <a:spLocks/>
            </p:cNvSpPr>
            <p:nvPr/>
          </p:nvSpPr>
          <p:spPr bwMode="auto">
            <a:xfrm>
              <a:off x="8031" y="2970"/>
              <a:ext cx="154" cy="464"/>
            </a:xfrm>
            <a:custGeom>
              <a:avLst/>
              <a:gdLst>
                <a:gd name="T0" fmla="*/ 327 w 327"/>
                <a:gd name="T1" fmla="*/ 26 h 987"/>
                <a:gd name="T2" fmla="*/ 211 w 327"/>
                <a:gd name="T3" fmla="*/ 0 h 987"/>
                <a:gd name="T4" fmla="*/ 0 w 327"/>
                <a:gd name="T5" fmla="*/ 961 h 987"/>
                <a:gd name="T6" fmla="*/ 117 w 327"/>
                <a:gd name="T7" fmla="*/ 987 h 987"/>
                <a:gd name="T8" fmla="*/ 327 w 327"/>
                <a:gd name="T9" fmla="*/ 26 h 9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7" h="987">
                  <a:moveTo>
                    <a:pt x="327" y="26"/>
                  </a:moveTo>
                  <a:lnTo>
                    <a:pt x="211" y="0"/>
                  </a:lnTo>
                  <a:lnTo>
                    <a:pt x="0" y="961"/>
                  </a:lnTo>
                  <a:lnTo>
                    <a:pt x="117" y="987"/>
                  </a:lnTo>
                  <a:lnTo>
                    <a:pt x="327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" name="Freeform 40">
              <a:extLst>
                <a:ext uri="{FF2B5EF4-FFF2-40B4-BE49-F238E27FC236}">
                  <a16:creationId xmlns:a16="http://schemas.microsoft.com/office/drawing/2014/main" id="{B8D4E1EA-0FF1-4E8A-A728-564E3C5D0EE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34" y="3025"/>
              <a:ext cx="139" cy="396"/>
            </a:xfrm>
            <a:custGeom>
              <a:avLst/>
              <a:gdLst>
                <a:gd name="T0" fmla="*/ 295 w 295"/>
                <a:gd name="T1" fmla="*/ 25 h 841"/>
                <a:gd name="T2" fmla="*/ 179 w 295"/>
                <a:gd name="T3" fmla="*/ 0 h 841"/>
                <a:gd name="T4" fmla="*/ 0 w 295"/>
                <a:gd name="T5" fmla="*/ 815 h 841"/>
                <a:gd name="T6" fmla="*/ 116 w 295"/>
                <a:gd name="T7" fmla="*/ 841 h 841"/>
                <a:gd name="T8" fmla="*/ 295 w 295"/>
                <a:gd name="T9" fmla="*/ 25 h 8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5" h="841">
                  <a:moveTo>
                    <a:pt x="295" y="25"/>
                  </a:moveTo>
                  <a:lnTo>
                    <a:pt x="179" y="0"/>
                  </a:lnTo>
                  <a:lnTo>
                    <a:pt x="0" y="815"/>
                  </a:lnTo>
                  <a:lnTo>
                    <a:pt x="116" y="841"/>
                  </a:lnTo>
                  <a:lnTo>
                    <a:pt x="295" y="2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4" name="Freeform 41">
              <a:extLst>
                <a:ext uri="{FF2B5EF4-FFF2-40B4-BE49-F238E27FC236}">
                  <a16:creationId xmlns:a16="http://schemas.microsoft.com/office/drawing/2014/main" id="{51DE6E7C-EFB6-4E70-BDBF-212622B7F8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3" y="3082"/>
              <a:ext cx="123" cy="322"/>
            </a:xfrm>
            <a:custGeom>
              <a:avLst/>
              <a:gdLst>
                <a:gd name="T0" fmla="*/ 262 w 262"/>
                <a:gd name="T1" fmla="*/ 25 h 686"/>
                <a:gd name="T2" fmla="*/ 145 w 262"/>
                <a:gd name="T3" fmla="*/ 0 h 686"/>
                <a:gd name="T4" fmla="*/ 0 w 262"/>
                <a:gd name="T5" fmla="*/ 660 h 686"/>
                <a:gd name="T6" fmla="*/ 117 w 262"/>
                <a:gd name="T7" fmla="*/ 686 h 686"/>
                <a:gd name="T8" fmla="*/ 262 w 262"/>
                <a:gd name="T9" fmla="*/ 25 h 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686">
                  <a:moveTo>
                    <a:pt x="262" y="25"/>
                  </a:moveTo>
                  <a:lnTo>
                    <a:pt x="145" y="0"/>
                  </a:lnTo>
                  <a:lnTo>
                    <a:pt x="0" y="660"/>
                  </a:lnTo>
                  <a:lnTo>
                    <a:pt x="117" y="686"/>
                  </a:lnTo>
                  <a:lnTo>
                    <a:pt x="262" y="2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05" name="Swimming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14D6C35C-6F4F-4467-973D-DAA940025962}"/>
              </a:ext>
            </a:extLst>
          </p:cNvPr>
          <p:cNvSpPr>
            <a:spLocks noChangeAspect="1" noEditPoints="1"/>
          </p:cNvSpPr>
          <p:nvPr>
            <p:custDataLst>
              <p:tags r:id="rId9"/>
            </p:custDataLst>
          </p:nvPr>
        </p:nvSpPr>
        <p:spPr bwMode="auto">
          <a:xfrm>
            <a:off x="6039175" y="2391365"/>
            <a:ext cx="714054" cy="524901"/>
          </a:xfrm>
          <a:custGeom>
            <a:avLst/>
            <a:gdLst>
              <a:gd name="T0" fmla="*/ 126 w 188"/>
              <a:gd name="T1" fmla="*/ 0 h 138"/>
              <a:gd name="T2" fmla="*/ 121 w 188"/>
              <a:gd name="T3" fmla="*/ 2 h 138"/>
              <a:gd name="T4" fmla="*/ 79 w 188"/>
              <a:gd name="T5" fmla="*/ 23 h 138"/>
              <a:gd name="T6" fmla="*/ 75 w 188"/>
              <a:gd name="T7" fmla="*/ 38 h 138"/>
              <a:gd name="T8" fmla="*/ 87 w 188"/>
              <a:gd name="T9" fmla="*/ 56 h 138"/>
              <a:gd name="T10" fmla="*/ 38 w 188"/>
              <a:gd name="T11" fmla="*/ 81 h 138"/>
              <a:gd name="T12" fmla="*/ 63 w 188"/>
              <a:gd name="T13" fmla="*/ 100 h 138"/>
              <a:gd name="T14" fmla="*/ 94 w 188"/>
              <a:gd name="T15" fmla="*/ 81 h 138"/>
              <a:gd name="T16" fmla="*/ 125 w 188"/>
              <a:gd name="T17" fmla="*/ 100 h 138"/>
              <a:gd name="T18" fmla="*/ 138 w 188"/>
              <a:gd name="T19" fmla="*/ 87 h 138"/>
              <a:gd name="T20" fmla="*/ 100 w 188"/>
              <a:gd name="T21" fmla="*/ 37 h 138"/>
              <a:gd name="T22" fmla="*/ 132 w 188"/>
              <a:gd name="T23" fmla="*/ 18 h 138"/>
              <a:gd name="T24" fmla="*/ 138 w 188"/>
              <a:gd name="T25" fmla="*/ 6 h 138"/>
              <a:gd name="T26" fmla="*/ 126 w 188"/>
              <a:gd name="T27" fmla="*/ 0 h 138"/>
              <a:gd name="T28" fmla="*/ 153 w 188"/>
              <a:gd name="T29" fmla="*/ 38 h 138"/>
              <a:gd name="T30" fmla="*/ 131 w 188"/>
              <a:gd name="T31" fmla="*/ 59 h 138"/>
              <a:gd name="T32" fmla="*/ 153 w 188"/>
              <a:gd name="T33" fmla="*/ 81 h 138"/>
              <a:gd name="T34" fmla="*/ 175 w 188"/>
              <a:gd name="T35" fmla="*/ 59 h 138"/>
              <a:gd name="T36" fmla="*/ 153 w 188"/>
              <a:gd name="T37" fmla="*/ 38 h 138"/>
              <a:gd name="T38" fmla="*/ 31 w 188"/>
              <a:gd name="T39" fmla="*/ 100 h 138"/>
              <a:gd name="T40" fmla="*/ 0 w 188"/>
              <a:gd name="T41" fmla="*/ 119 h 138"/>
              <a:gd name="T42" fmla="*/ 0 w 188"/>
              <a:gd name="T43" fmla="*/ 138 h 138"/>
              <a:gd name="T44" fmla="*/ 31 w 188"/>
              <a:gd name="T45" fmla="*/ 119 h 138"/>
              <a:gd name="T46" fmla="*/ 63 w 188"/>
              <a:gd name="T47" fmla="*/ 138 h 138"/>
              <a:gd name="T48" fmla="*/ 94 w 188"/>
              <a:gd name="T49" fmla="*/ 119 h 138"/>
              <a:gd name="T50" fmla="*/ 125 w 188"/>
              <a:gd name="T51" fmla="*/ 138 h 138"/>
              <a:gd name="T52" fmla="*/ 150 w 188"/>
              <a:gd name="T53" fmla="*/ 119 h 138"/>
              <a:gd name="T54" fmla="*/ 188 w 188"/>
              <a:gd name="T55" fmla="*/ 138 h 138"/>
              <a:gd name="T56" fmla="*/ 188 w 188"/>
              <a:gd name="T57" fmla="*/ 119 h 138"/>
              <a:gd name="T58" fmla="*/ 150 w 188"/>
              <a:gd name="T59" fmla="*/ 100 h 138"/>
              <a:gd name="T60" fmla="*/ 125 w 188"/>
              <a:gd name="T61" fmla="*/ 119 h 138"/>
              <a:gd name="T62" fmla="*/ 94 w 188"/>
              <a:gd name="T63" fmla="*/ 100 h 138"/>
              <a:gd name="T64" fmla="*/ 63 w 188"/>
              <a:gd name="T65" fmla="*/ 119 h 138"/>
              <a:gd name="T66" fmla="*/ 31 w 188"/>
              <a:gd name="T67" fmla="*/ 100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88" h="138">
                <a:moveTo>
                  <a:pt x="126" y="0"/>
                </a:moveTo>
                <a:cubicBezTo>
                  <a:pt x="125" y="0"/>
                  <a:pt x="121" y="2"/>
                  <a:pt x="121" y="2"/>
                </a:cubicBezTo>
                <a:lnTo>
                  <a:pt x="79" y="23"/>
                </a:lnTo>
                <a:cubicBezTo>
                  <a:pt x="74" y="25"/>
                  <a:pt x="72" y="34"/>
                  <a:pt x="75" y="38"/>
                </a:cubicBezTo>
                <a:lnTo>
                  <a:pt x="87" y="56"/>
                </a:lnTo>
                <a:lnTo>
                  <a:pt x="38" y="81"/>
                </a:lnTo>
                <a:lnTo>
                  <a:pt x="63" y="100"/>
                </a:lnTo>
                <a:lnTo>
                  <a:pt x="94" y="81"/>
                </a:lnTo>
                <a:lnTo>
                  <a:pt x="125" y="100"/>
                </a:lnTo>
                <a:lnTo>
                  <a:pt x="138" y="87"/>
                </a:lnTo>
                <a:lnTo>
                  <a:pt x="100" y="37"/>
                </a:lnTo>
                <a:lnTo>
                  <a:pt x="132" y="18"/>
                </a:lnTo>
                <a:cubicBezTo>
                  <a:pt x="139" y="15"/>
                  <a:pt x="138" y="10"/>
                  <a:pt x="138" y="6"/>
                </a:cubicBezTo>
                <a:cubicBezTo>
                  <a:pt x="137" y="4"/>
                  <a:pt x="133" y="0"/>
                  <a:pt x="126" y="0"/>
                </a:cubicBezTo>
                <a:close/>
                <a:moveTo>
                  <a:pt x="153" y="38"/>
                </a:moveTo>
                <a:cubicBezTo>
                  <a:pt x="141" y="38"/>
                  <a:pt x="131" y="47"/>
                  <a:pt x="131" y="59"/>
                </a:cubicBezTo>
                <a:cubicBezTo>
                  <a:pt x="131" y="71"/>
                  <a:pt x="141" y="81"/>
                  <a:pt x="153" y="81"/>
                </a:cubicBezTo>
                <a:cubicBezTo>
                  <a:pt x="165" y="81"/>
                  <a:pt x="175" y="71"/>
                  <a:pt x="175" y="59"/>
                </a:cubicBezTo>
                <a:cubicBezTo>
                  <a:pt x="175" y="47"/>
                  <a:pt x="165" y="38"/>
                  <a:pt x="153" y="38"/>
                </a:cubicBezTo>
                <a:close/>
                <a:moveTo>
                  <a:pt x="31" y="100"/>
                </a:moveTo>
                <a:lnTo>
                  <a:pt x="0" y="119"/>
                </a:lnTo>
                <a:lnTo>
                  <a:pt x="0" y="138"/>
                </a:lnTo>
                <a:lnTo>
                  <a:pt x="31" y="119"/>
                </a:lnTo>
                <a:lnTo>
                  <a:pt x="63" y="138"/>
                </a:lnTo>
                <a:lnTo>
                  <a:pt x="94" y="119"/>
                </a:lnTo>
                <a:lnTo>
                  <a:pt x="125" y="138"/>
                </a:lnTo>
                <a:lnTo>
                  <a:pt x="150" y="119"/>
                </a:lnTo>
                <a:lnTo>
                  <a:pt x="188" y="138"/>
                </a:lnTo>
                <a:lnTo>
                  <a:pt x="188" y="119"/>
                </a:lnTo>
                <a:lnTo>
                  <a:pt x="150" y="100"/>
                </a:lnTo>
                <a:lnTo>
                  <a:pt x="125" y="119"/>
                </a:lnTo>
                <a:lnTo>
                  <a:pt x="94" y="100"/>
                </a:lnTo>
                <a:lnTo>
                  <a:pt x="63" y="119"/>
                </a:lnTo>
                <a:lnTo>
                  <a:pt x="31" y="100"/>
                </a:lnTo>
                <a:close/>
              </a:path>
            </a:pathLst>
          </a:custGeom>
          <a:solidFill>
            <a:srgbClr val="44546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6" name="Target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8456DBF-F130-49BD-92B1-1D465F9ECB6C}"/>
              </a:ext>
            </a:extLst>
          </p:cNvPr>
          <p:cNvSpPr>
            <a:spLocks noChangeAspect="1" noEditPoints="1"/>
          </p:cNvSpPr>
          <p:nvPr>
            <p:custDataLst>
              <p:tags r:id="rId10"/>
            </p:custDataLst>
          </p:nvPr>
        </p:nvSpPr>
        <p:spPr bwMode="auto">
          <a:xfrm>
            <a:off x="3017630" y="4312100"/>
            <a:ext cx="723828" cy="526858"/>
          </a:xfrm>
          <a:custGeom>
            <a:avLst/>
            <a:gdLst>
              <a:gd name="T0" fmla="*/ 297 w 980"/>
              <a:gd name="T1" fmla="*/ 214 h 713"/>
              <a:gd name="T2" fmla="*/ 620 w 980"/>
              <a:gd name="T3" fmla="*/ 51 h 713"/>
              <a:gd name="T4" fmla="*/ 620 w 980"/>
              <a:gd name="T5" fmla="*/ 663 h 713"/>
              <a:gd name="T6" fmla="*/ 329 w 980"/>
              <a:gd name="T7" fmla="*/ 260 h 713"/>
              <a:gd name="T8" fmla="*/ 267 w 980"/>
              <a:gd name="T9" fmla="*/ 356 h 713"/>
              <a:gd name="T10" fmla="*/ 980 w 980"/>
              <a:gd name="T11" fmla="*/ 356 h 713"/>
              <a:gd name="T12" fmla="*/ 22 w 980"/>
              <a:gd name="T13" fmla="*/ 76 h 713"/>
              <a:gd name="T14" fmla="*/ 0 w 980"/>
              <a:gd name="T15" fmla="*/ 142 h 713"/>
              <a:gd name="T16" fmla="*/ 94 w 980"/>
              <a:gd name="T17" fmla="*/ 164 h 713"/>
              <a:gd name="T18" fmla="*/ 593 w 980"/>
              <a:gd name="T19" fmla="*/ 357 h 713"/>
              <a:gd name="T20" fmla="*/ 587 w 980"/>
              <a:gd name="T21" fmla="*/ 394 h 713"/>
              <a:gd name="T22" fmla="*/ 617 w 980"/>
              <a:gd name="T23" fmla="*/ 291 h 713"/>
              <a:gd name="T24" fmla="*/ 603 w 980"/>
              <a:gd name="T25" fmla="*/ 334 h 713"/>
              <a:gd name="T26" fmla="*/ 107 w 980"/>
              <a:gd name="T27" fmla="*/ 142 h 713"/>
              <a:gd name="T28" fmla="*/ 22 w 980"/>
              <a:gd name="T29" fmla="*/ 76 h 713"/>
              <a:gd name="T30" fmla="*/ 379 w 980"/>
              <a:gd name="T31" fmla="*/ 246 h 713"/>
              <a:gd name="T32" fmla="*/ 620 w 980"/>
              <a:gd name="T33" fmla="*/ 144 h 713"/>
              <a:gd name="T34" fmla="*/ 620 w 980"/>
              <a:gd name="T35" fmla="*/ 569 h 713"/>
              <a:gd name="T36" fmla="*/ 417 w 980"/>
              <a:gd name="T37" fmla="*/ 291 h 713"/>
              <a:gd name="T38" fmla="*/ 355 w 980"/>
              <a:gd name="T39" fmla="*/ 356 h 713"/>
              <a:gd name="T40" fmla="*/ 885 w 980"/>
              <a:gd name="T41" fmla="*/ 356 h 713"/>
              <a:gd name="T42" fmla="*/ 620 w 980"/>
              <a:gd name="T43" fmla="*/ 181 h 713"/>
              <a:gd name="T44" fmla="*/ 512 w 980"/>
              <a:gd name="T45" fmla="*/ 298 h 713"/>
              <a:gd name="T46" fmla="*/ 743 w 980"/>
              <a:gd name="T47" fmla="*/ 356 h 713"/>
              <a:gd name="T48" fmla="*/ 497 w 980"/>
              <a:gd name="T49" fmla="*/ 356 h 713"/>
              <a:gd name="T50" fmla="*/ 452 w 980"/>
              <a:gd name="T51" fmla="*/ 305 h 713"/>
              <a:gd name="T52" fmla="*/ 620 w 980"/>
              <a:gd name="T53" fmla="*/ 532 h 713"/>
              <a:gd name="T54" fmla="*/ 620 w 980"/>
              <a:gd name="T55" fmla="*/ 181 h 713"/>
              <a:gd name="T56" fmla="*/ 548 w 980"/>
              <a:gd name="T57" fmla="*/ 310 h 713"/>
              <a:gd name="T58" fmla="*/ 615 w 980"/>
              <a:gd name="T59" fmla="*/ 287 h 713"/>
              <a:gd name="T60" fmla="*/ 618 w 980"/>
              <a:gd name="T61" fmla="*/ 286 h 713"/>
              <a:gd name="T62" fmla="*/ 663 w 980"/>
              <a:gd name="T63" fmla="*/ 357 h 713"/>
              <a:gd name="T64" fmla="*/ 585 w 980"/>
              <a:gd name="T65" fmla="*/ 399 h 713"/>
              <a:gd name="T66" fmla="*/ 583 w 980"/>
              <a:gd name="T67" fmla="*/ 397 h 713"/>
              <a:gd name="T68" fmla="*/ 537 w 980"/>
              <a:gd name="T69" fmla="*/ 338 h 713"/>
              <a:gd name="T70" fmla="*/ 620 w 980"/>
              <a:gd name="T71" fmla="*/ 442 h 713"/>
              <a:gd name="T72" fmla="*/ 620 w 980"/>
              <a:gd name="T73" fmla="*/ 271 h 7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980" h="713">
                <a:moveTo>
                  <a:pt x="624" y="0"/>
                </a:moveTo>
                <a:cubicBezTo>
                  <a:pt x="478" y="0"/>
                  <a:pt x="352" y="88"/>
                  <a:pt x="297" y="214"/>
                </a:cubicBezTo>
                <a:lnTo>
                  <a:pt x="341" y="231"/>
                </a:lnTo>
                <a:cubicBezTo>
                  <a:pt x="389" y="125"/>
                  <a:pt x="496" y="51"/>
                  <a:pt x="620" y="51"/>
                </a:cubicBezTo>
                <a:cubicBezTo>
                  <a:pt x="788" y="51"/>
                  <a:pt x="926" y="188"/>
                  <a:pt x="926" y="356"/>
                </a:cubicBezTo>
                <a:cubicBezTo>
                  <a:pt x="926" y="525"/>
                  <a:pt x="788" y="663"/>
                  <a:pt x="620" y="663"/>
                </a:cubicBezTo>
                <a:cubicBezTo>
                  <a:pt x="451" y="663"/>
                  <a:pt x="314" y="525"/>
                  <a:pt x="314" y="356"/>
                </a:cubicBezTo>
                <a:cubicBezTo>
                  <a:pt x="314" y="322"/>
                  <a:pt x="318" y="291"/>
                  <a:pt x="329" y="260"/>
                </a:cubicBezTo>
                <a:lnTo>
                  <a:pt x="286" y="243"/>
                </a:lnTo>
                <a:cubicBezTo>
                  <a:pt x="273" y="279"/>
                  <a:pt x="267" y="316"/>
                  <a:pt x="267" y="356"/>
                </a:cubicBezTo>
                <a:cubicBezTo>
                  <a:pt x="267" y="553"/>
                  <a:pt x="427" y="713"/>
                  <a:pt x="624" y="713"/>
                </a:cubicBezTo>
                <a:cubicBezTo>
                  <a:pt x="821" y="713"/>
                  <a:pt x="980" y="553"/>
                  <a:pt x="980" y="356"/>
                </a:cubicBezTo>
                <a:cubicBezTo>
                  <a:pt x="980" y="160"/>
                  <a:pt x="821" y="0"/>
                  <a:pt x="624" y="0"/>
                </a:cubicBezTo>
                <a:close/>
                <a:moveTo>
                  <a:pt x="22" y="76"/>
                </a:moveTo>
                <a:cubicBezTo>
                  <a:pt x="56" y="114"/>
                  <a:pt x="60" y="134"/>
                  <a:pt x="60" y="134"/>
                </a:cubicBezTo>
                <a:cubicBezTo>
                  <a:pt x="60" y="134"/>
                  <a:pt x="48" y="140"/>
                  <a:pt x="0" y="142"/>
                </a:cubicBezTo>
                <a:cubicBezTo>
                  <a:pt x="0" y="142"/>
                  <a:pt x="50" y="172"/>
                  <a:pt x="77" y="172"/>
                </a:cubicBezTo>
                <a:cubicBezTo>
                  <a:pt x="83" y="172"/>
                  <a:pt x="94" y="164"/>
                  <a:pt x="94" y="164"/>
                </a:cubicBezTo>
                <a:lnTo>
                  <a:pt x="591" y="356"/>
                </a:lnTo>
                <a:lnTo>
                  <a:pt x="593" y="357"/>
                </a:lnTo>
                <a:lnTo>
                  <a:pt x="598" y="359"/>
                </a:lnTo>
                <a:lnTo>
                  <a:pt x="587" y="394"/>
                </a:lnTo>
                <a:lnTo>
                  <a:pt x="658" y="356"/>
                </a:lnTo>
                <a:lnTo>
                  <a:pt x="617" y="291"/>
                </a:lnTo>
                <a:lnTo>
                  <a:pt x="603" y="333"/>
                </a:lnTo>
                <a:lnTo>
                  <a:pt x="603" y="334"/>
                </a:lnTo>
                <a:cubicBezTo>
                  <a:pt x="601" y="334"/>
                  <a:pt x="602" y="334"/>
                  <a:pt x="602" y="334"/>
                </a:cubicBezTo>
                <a:lnTo>
                  <a:pt x="107" y="142"/>
                </a:lnTo>
                <a:cubicBezTo>
                  <a:pt x="107" y="142"/>
                  <a:pt x="101" y="121"/>
                  <a:pt x="93" y="113"/>
                </a:cubicBezTo>
                <a:cubicBezTo>
                  <a:pt x="75" y="94"/>
                  <a:pt x="22" y="76"/>
                  <a:pt x="22" y="76"/>
                </a:cubicBezTo>
                <a:close/>
                <a:moveTo>
                  <a:pt x="620" y="92"/>
                </a:moveTo>
                <a:cubicBezTo>
                  <a:pt x="513" y="92"/>
                  <a:pt x="421" y="155"/>
                  <a:pt x="379" y="246"/>
                </a:cubicBezTo>
                <a:lnTo>
                  <a:pt x="428" y="265"/>
                </a:lnTo>
                <a:cubicBezTo>
                  <a:pt x="462" y="194"/>
                  <a:pt x="535" y="144"/>
                  <a:pt x="620" y="144"/>
                </a:cubicBezTo>
                <a:cubicBezTo>
                  <a:pt x="737" y="144"/>
                  <a:pt x="832" y="239"/>
                  <a:pt x="832" y="356"/>
                </a:cubicBezTo>
                <a:cubicBezTo>
                  <a:pt x="832" y="474"/>
                  <a:pt x="737" y="569"/>
                  <a:pt x="620" y="569"/>
                </a:cubicBezTo>
                <a:cubicBezTo>
                  <a:pt x="503" y="569"/>
                  <a:pt x="407" y="474"/>
                  <a:pt x="407" y="356"/>
                </a:cubicBezTo>
                <a:cubicBezTo>
                  <a:pt x="407" y="333"/>
                  <a:pt x="410" y="312"/>
                  <a:pt x="417" y="291"/>
                </a:cubicBezTo>
                <a:lnTo>
                  <a:pt x="369" y="273"/>
                </a:lnTo>
                <a:cubicBezTo>
                  <a:pt x="360" y="300"/>
                  <a:pt x="355" y="327"/>
                  <a:pt x="355" y="356"/>
                </a:cubicBezTo>
                <a:cubicBezTo>
                  <a:pt x="355" y="503"/>
                  <a:pt x="474" y="621"/>
                  <a:pt x="620" y="621"/>
                </a:cubicBezTo>
                <a:cubicBezTo>
                  <a:pt x="766" y="621"/>
                  <a:pt x="885" y="503"/>
                  <a:pt x="885" y="356"/>
                </a:cubicBezTo>
                <a:cubicBezTo>
                  <a:pt x="885" y="210"/>
                  <a:pt x="766" y="92"/>
                  <a:pt x="620" y="92"/>
                </a:cubicBezTo>
                <a:close/>
                <a:moveTo>
                  <a:pt x="620" y="181"/>
                </a:moveTo>
                <a:cubicBezTo>
                  <a:pt x="551" y="181"/>
                  <a:pt x="492" y="221"/>
                  <a:pt x="463" y="278"/>
                </a:cubicBezTo>
                <a:lnTo>
                  <a:pt x="512" y="298"/>
                </a:lnTo>
                <a:cubicBezTo>
                  <a:pt x="533" y="260"/>
                  <a:pt x="573" y="234"/>
                  <a:pt x="620" y="234"/>
                </a:cubicBezTo>
                <a:cubicBezTo>
                  <a:pt x="687" y="234"/>
                  <a:pt x="743" y="289"/>
                  <a:pt x="743" y="356"/>
                </a:cubicBezTo>
                <a:cubicBezTo>
                  <a:pt x="743" y="424"/>
                  <a:pt x="687" y="479"/>
                  <a:pt x="620" y="479"/>
                </a:cubicBezTo>
                <a:cubicBezTo>
                  <a:pt x="552" y="479"/>
                  <a:pt x="497" y="424"/>
                  <a:pt x="497" y="356"/>
                </a:cubicBezTo>
                <a:cubicBezTo>
                  <a:pt x="497" y="345"/>
                  <a:pt x="498" y="335"/>
                  <a:pt x="501" y="324"/>
                </a:cubicBezTo>
                <a:lnTo>
                  <a:pt x="452" y="305"/>
                </a:lnTo>
                <a:cubicBezTo>
                  <a:pt x="447" y="322"/>
                  <a:pt x="444" y="338"/>
                  <a:pt x="444" y="356"/>
                </a:cubicBezTo>
                <a:cubicBezTo>
                  <a:pt x="444" y="453"/>
                  <a:pt x="523" y="532"/>
                  <a:pt x="620" y="532"/>
                </a:cubicBezTo>
                <a:cubicBezTo>
                  <a:pt x="716" y="532"/>
                  <a:pt x="795" y="453"/>
                  <a:pt x="795" y="356"/>
                </a:cubicBezTo>
                <a:cubicBezTo>
                  <a:pt x="795" y="260"/>
                  <a:pt x="716" y="181"/>
                  <a:pt x="620" y="181"/>
                </a:cubicBezTo>
                <a:close/>
                <a:moveTo>
                  <a:pt x="620" y="271"/>
                </a:moveTo>
                <a:cubicBezTo>
                  <a:pt x="590" y="271"/>
                  <a:pt x="564" y="287"/>
                  <a:pt x="548" y="310"/>
                </a:cubicBezTo>
                <a:lnTo>
                  <a:pt x="600" y="330"/>
                </a:lnTo>
                <a:lnTo>
                  <a:pt x="615" y="287"/>
                </a:lnTo>
                <a:lnTo>
                  <a:pt x="616" y="283"/>
                </a:lnTo>
                <a:lnTo>
                  <a:pt x="618" y="286"/>
                </a:lnTo>
                <a:lnTo>
                  <a:pt x="662" y="356"/>
                </a:lnTo>
                <a:lnTo>
                  <a:pt x="663" y="357"/>
                </a:lnTo>
                <a:lnTo>
                  <a:pt x="662" y="358"/>
                </a:lnTo>
                <a:lnTo>
                  <a:pt x="585" y="399"/>
                </a:lnTo>
                <a:lnTo>
                  <a:pt x="581" y="401"/>
                </a:lnTo>
                <a:lnTo>
                  <a:pt x="583" y="397"/>
                </a:lnTo>
                <a:lnTo>
                  <a:pt x="594" y="360"/>
                </a:lnTo>
                <a:lnTo>
                  <a:pt x="537" y="338"/>
                </a:lnTo>
                <a:cubicBezTo>
                  <a:pt x="535" y="344"/>
                  <a:pt x="535" y="350"/>
                  <a:pt x="535" y="356"/>
                </a:cubicBezTo>
                <a:cubicBezTo>
                  <a:pt x="535" y="403"/>
                  <a:pt x="573" y="442"/>
                  <a:pt x="620" y="442"/>
                </a:cubicBezTo>
                <a:cubicBezTo>
                  <a:pt x="667" y="442"/>
                  <a:pt x="705" y="403"/>
                  <a:pt x="705" y="356"/>
                </a:cubicBezTo>
                <a:cubicBezTo>
                  <a:pt x="705" y="309"/>
                  <a:pt x="667" y="271"/>
                  <a:pt x="620" y="271"/>
                </a:cubicBezTo>
                <a:close/>
              </a:path>
            </a:pathLst>
          </a:custGeom>
          <a:solidFill>
            <a:srgbClr val="44546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3D85CCE-F2BD-4188-8EEE-C769A5C2E490}"/>
              </a:ext>
            </a:extLst>
          </p:cNvPr>
          <p:cNvSpPr txBox="1"/>
          <p:nvPr/>
        </p:nvSpPr>
        <p:spPr>
          <a:xfrm>
            <a:off x="2145754" y="1667328"/>
            <a:ext cx="26258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44546A"/>
                </a:solidFill>
              </a:rPr>
              <a:t>FIRST MORNING TRAINING</a:t>
            </a:r>
            <a:endParaRPr lang="fr-FR" b="1" dirty="0">
              <a:solidFill>
                <a:srgbClr val="44546A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68FD54B-3EAC-4DC0-BDC8-C0069A07C6AD}"/>
              </a:ext>
            </a:extLst>
          </p:cNvPr>
          <p:cNvSpPr txBox="1"/>
          <p:nvPr/>
        </p:nvSpPr>
        <p:spPr>
          <a:xfrm>
            <a:off x="5083287" y="1667327"/>
            <a:ext cx="26258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44546A"/>
                </a:solidFill>
              </a:rPr>
              <a:t>SECOND MORNING TRAINING</a:t>
            </a:r>
            <a:endParaRPr lang="fr-FR" b="1" dirty="0">
              <a:solidFill>
                <a:srgbClr val="44546A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4C78E9E-B029-42D3-B8E2-DCC3E793D1B0}"/>
              </a:ext>
            </a:extLst>
          </p:cNvPr>
          <p:cNvSpPr txBox="1"/>
          <p:nvPr/>
        </p:nvSpPr>
        <p:spPr>
          <a:xfrm>
            <a:off x="7880970" y="1735854"/>
            <a:ext cx="26258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44546A"/>
                </a:solidFill>
              </a:rPr>
              <a:t>CORE</a:t>
            </a:r>
            <a:endParaRPr lang="fr-FR" b="1" dirty="0">
              <a:solidFill>
                <a:srgbClr val="44546A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AF05CC8-BB58-4F42-A363-5DAF85525698}"/>
              </a:ext>
            </a:extLst>
          </p:cNvPr>
          <p:cNvSpPr txBox="1"/>
          <p:nvPr/>
        </p:nvSpPr>
        <p:spPr>
          <a:xfrm>
            <a:off x="7858532" y="3516909"/>
            <a:ext cx="26258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44546A"/>
                </a:solidFill>
              </a:rPr>
              <a:t>STREET WORKOU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D6AB7BA-847B-46AE-8AB4-D89B1A7B227A}"/>
              </a:ext>
            </a:extLst>
          </p:cNvPr>
          <p:cNvSpPr txBox="1"/>
          <p:nvPr/>
        </p:nvSpPr>
        <p:spPr>
          <a:xfrm>
            <a:off x="2222987" y="3518966"/>
            <a:ext cx="26258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44546A"/>
                </a:solidFill>
              </a:rPr>
              <a:t>CORE </a:t>
            </a:r>
            <a:r>
              <a:rPr lang="en-GB" b="1" i="0" dirty="0">
                <a:solidFill>
                  <a:srgbClr val="44546A"/>
                </a:solidFill>
                <a:effectLst/>
                <a:latin typeface="arial" panose="020B0604020202020204" pitchFamily="34" charset="0"/>
              </a:rPr>
              <a:t>II</a:t>
            </a:r>
            <a:endParaRPr lang="fr-FR" b="1" dirty="0">
              <a:solidFill>
                <a:srgbClr val="44546A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5CBFDE6-3C9B-4E50-B806-74135B85D65A}"/>
              </a:ext>
            </a:extLst>
          </p:cNvPr>
          <p:cNvSpPr txBox="1"/>
          <p:nvPr/>
        </p:nvSpPr>
        <p:spPr>
          <a:xfrm>
            <a:off x="2177988" y="5342300"/>
            <a:ext cx="26258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44546A"/>
                </a:solidFill>
              </a:rPr>
              <a:t>START “INSANITY”</a:t>
            </a:r>
            <a:endParaRPr lang="fr-FR" b="1" dirty="0">
              <a:solidFill>
                <a:srgbClr val="44546A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BA47CD0-08A4-49DF-89FA-AB58FB68C1C7}"/>
              </a:ext>
            </a:extLst>
          </p:cNvPr>
          <p:cNvSpPr txBox="1"/>
          <p:nvPr/>
        </p:nvSpPr>
        <p:spPr>
          <a:xfrm>
            <a:off x="5099523" y="5336713"/>
            <a:ext cx="26258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44546A"/>
                </a:solidFill>
              </a:rPr>
              <a:t>GYM</a:t>
            </a:r>
            <a:endParaRPr lang="fr-FR" b="1" dirty="0">
              <a:solidFill>
                <a:srgbClr val="44546A"/>
              </a:solidFill>
            </a:endParaRP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B67E1518-EBED-447E-97B8-6956D9E1B068}"/>
              </a:ext>
            </a:extLst>
          </p:cNvPr>
          <p:cNvSpPr txBox="1"/>
          <p:nvPr/>
        </p:nvSpPr>
        <p:spPr>
          <a:xfrm>
            <a:off x="5095722" y="3521592"/>
            <a:ext cx="26258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44546A"/>
                </a:solidFill>
              </a:rPr>
              <a:t>HIGH LEVEL MORNING TRAINING</a:t>
            </a:r>
          </a:p>
        </p:txBody>
      </p:sp>
    </p:spTree>
    <p:extLst>
      <p:ext uri="{BB962C8B-B14F-4D97-AF65-F5344CB8AC3E}">
        <p14:creationId xmlns:p14="http://schemas.microsoft.com/office/powerpoint/2010/main" val="1377006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ctivity*statistics*analytics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topwatch_POWER_USER_SEPARATOR_ICONS_clock_POWER_USER_SEPARATOR_ICONS_measure_POWER_USER_SEPARATOR_ICONS_speed_POWER_USER_SEPARATOR_ICONS_start_POWER_USER_SEPARATOR_ICONS_stop_POWER_USER_SEPARATOR_ICONS_tim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trength_POWER_USER_SEPARATOR_ICONS_arms_POWER_USER_SEPARATOR_ICONS_biceps_POWER_USER_SEPARATOR_ICONS_fitness_POWER_USER_SEPARATOR_ICONS_gym_POWER_USER_SEPARATOR_ICONS_muscles_POWER_USER_SEPARATOR_ICONS_sports_POWER_USER_SEPARATOR_ICONS_stron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trength*arms*biceps*fitness*gym*muscles*sports*strong*liftin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wimming*water*diving*pool*sports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rchery_POWER_USER_SEPARATOR_ICONS_on-target_POWER_USER_SEPARATOR_ICONS_relevant_POWER_USER_SEPARATOR_ICONS_target-shootin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trength_POWER_USER_SEPARATOR_ICONS_arms_POWER_USER_SEPARATOR_ICONS_biceps_POWER_USER_SEPARATOR_ICONS_fitness_POWER_USER_SEPARATOR_ICONS_gym_POWER_USER_SEPARATOR_ICONS_muscles_POWER_USER_SEPARATOR_ICONS_sports_POWER_USER_SEPARATOR_ICONS_stron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trength_POWER_USER_SEPARATOR_ICONS_arms_POWER_USER_SEPARATOR_ICONS_biceps_POWER_USER_SEPARATOR_ICONS_fitness_POWER_USER_SEPARATOR_ICONS_gym_POWER_USER_SEPARATOR_ICONS_muscles_POWER_USER_SEPARATOR_ICONS_sports_POWER_USER_SEPARATOR_ICONS_stron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up_POWER_USER_SEPARATOR_ICONS_champion_POWER_USER_SEPARATOR_ICONS_competition_POWER_USER_SEPARATOR_ICONS_prize_POWER_USER_SEPARATOR_ICONS_trophy_POWER_USER_SEPARATOR_ICONS_winn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up_POWER_USER_SEPARATOR_ICONS_champion_POWER_USER_SEPARATOR_ICONS_competition_POWER_USER_SEPARATOR_ICONS_prize_POWER_USER_SEPARATOR_ICONS_trophy_POWER_USER_SEPARATOR_ICONS_winner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up_POWER_USER_SEPARATOR_ICONS_champion_POWER_USER_SEPARATOR_ICONS_competition_POWER_USER_SEPARATOR_ICONS_prize_POWER_USER_SEPARATOR_ICONS_trophy_POWER_USER_SEPARATOR_ICONS_winner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up_POWER_USER_SEPARATOR_ICONS_champion_POWER_USER_SEPARATOR_ICONS_competition_POWER_USER_SEPARATOR_ICONS_prize_POWER_USER_SEPARATOR_ICONS_trophy_POWER_USER_SEPARATOR_ICONS_winn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up_POWER_USER_SEPARATOR_ICONS_champion_POWER_USER_SEPARATOR_ICONS_competition_POWER_USER_SEPARATOR_ICONS_prize_POWER_USER_SEPARATOR_ICONS_trophy_POWER_USER_SEPARATOR_ICONS_winn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ctivity*statistics*analytic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ood_POWER_USER_SEPARATOR_ICONS_aid_POWER_USER_SEPARATOR_ICONS_bag_POWER_USER_SEPARATOR_ICONS_bushel_POWER_USER_SEPARATOR_ICONS_humanitarian_POWER_USER_SEPARATOR_ICONS_wheat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ood_POWER_USER_SEPARATOR_ICONS_aid_POWER_USER_SEPARATOR_ICONS_bag_POWER_USER_SEPARATOR_ICONS_bushel_POWER_USER_SEPARATOR_ICONS_humanitarian_POWER_USER_SEPARATOR_ICONS_whea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ood_POWER_USER_SEPARATOR_ICONS_aid_POWER_USER_SEPARATOR_ICONS_bag_POWER_USER_SEPARATOR_ICONS_bushel_POWER_USER_SEPARATOR_ICONS_humanitarian_POWER_USER_SEPARATOR_ICONS_whea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ctivity*statistics*analytics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up_POWER_USER_SEPARATOR_ICONS_champion_POWER_USER_SEPARATOR_ICONS_competition_POWER_USER_SEPARATOR_ICONS_prize_POWER_USER_SEPARATOR_ICONS_trophy_POWER_USER_SEPARATOR_ICONS_winner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</TotalTime>
  <Words>214</Words>
  <Application>Microsoft Office PowerPoint</Application>
  <PresentationFormat>Widescreen</PresentationFormat>
  <Paragraphs>43</Paragraphs>
  <Slides>3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9" baseType="lpstr">
      <vt:lpstr>Arial</vt:lpstr>
      <vt:lpstr>Arial</vt:lpstr>
      <vt:lpstr>Calibri</vt:lpstr>
      <vt:lpstr>Calibri Light</vt:lpstr>
      <vt:lpstr>Rockwell Extra Bold</vt:lpstr>
      <vt:lpstr>Office Theme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Родион Афанасьев</dc:creator>
  <cp:lastModifiedBy>Родион Афанасьев</cp:lastModifiedBy>
  <cp:revision>3</cp:revision>
  <dcterms:created xsi:type="dcterms:W3CDTF">2020-08-03T14:52:01Z</dcterms:created>
  <dcterms:modified xsi:type="dcterms:W3CDTF">2020-08-03T15:02:27Z</dcterms:modified>
</cp:coreProperties>
</file>